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985" r:id="rId2"/>
    <p:sldMasterId id="2147484205" r:id="rId3"/>
    <p:sldMasterId id="2147484279" r:id="rId4"/>
    <p:sldMasterId id="2147484426" r:id="rId5"/>
  </p:sldMasterIdLst>
  <p:notesMasterIdLst>
    <p:notesMasterId r:id="rId31"/>
  </p:notesMasterIdLst>
  <p:handoutMasterIdLst>
    <p:handoutMasterId r:id="rId32"/>
  </p:handoutMasterIdLst>
  <p:sldIdLst>
    <p:sldId id="433" r:id="rId6"/>
    <p:sldId id="312" r:id="rId7"/>
    <p:sldId id="446" r:id="rId8"/>
    <p:sldId id="440" r:id="rId9"/>
    <p:sldId id="447" r:id="rId10"/>
    <p:sldId id="449" r:id="rId11"/>
    <p:sldId id="448" r:id="rId12"/>
    <p:sldId id="453" r:id="rId13"/>
    <p:sldId id="451" r:id="rId14"/>
    <p:sldId id="461" r:id="rId15"/>
    <p:sldId id="454" r:id="rId16"/>
    <p:sldId id="441" r:id="rId17"/>
    <p:sldId id="452" r:id="rId18"/>
    <p:sldId id="444" r:id="rId19"/>
    <p:sldId id="439" r:id="rId20"/>
    <p:sldId id="455" r:id="rId21"/>
    <p:sldId id="462" r:id="rId22"/>
    <p:sldId id="457" r:id="rId23"/>
    <p:sldId id="458" r:id="rId24"/>
    <p:sldId id="464" r:id="rId25"/>
    <p:sldId id="459" r:id="rId26"/>
    <p:sldId id="463" r:id="rId27"/>
    <p:sldId id="460" r:id="rId28"/>
    <p:sldId id="465" r:id="rId29"/>
    <p:sldId id="438" r:id="rId30"/>
  </p:sldIdLst>
  <p:sldSz cx="9144000" cy="6858000" type="screen4x3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C9CD5"/>
    <a:srgbClr val="213315"/>
    <a:srgbClr val="28F832"/>
    <a:srgbClr val="F78C6F"/>
    <a:srgbClr val="0C0007"/>
    <a:srgbClr val="82E4A0"/>
    <a:srgbClr val="72E094"/>
    <a:srgbClr val="A1B947"/>
    <a:srgbClr val="6C4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545" autoAdjust="0"/>
    <p:restoredTop sz="86450" autoAdjust="0"/>
  </p:normalViewPr>
  <p:slideViewPr>
    <p:cSldViewPr>
      <p:cViewPr varScale="1">
        <p:scale>
          <a:sx n="72" d="100"/>
          <a:sy n="72" d="100"/>
        </p:scale>
        <p:origin x="660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45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982" y="-9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image" Target="../media/image35.jpeg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7" Type="http://schemas.openxmlformats.org/officeDocument/2006/relationships/image" Target="../media/image39.jpeg"/><Relationship Id="rId2" Type="http://schemas.openxmlformats.org/officeDocument/2006/relationships/image" Target="../media/image41.png"/><Relationship Id="rId1" Type="http://schemas.openxmlformats.org/officeDocument/2006/relationships/image" Target="../media/image35.jpeg"/><Relationship Id="rId6" Type="http://schemas.openxmlformats.org/officeDocument/2006/relationships/image" Target="../media/image38.jp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BDCC40E-77DD-4091-BDC0-F19642A1E8AF}" type="doc">
      <dgm:prSet loTypeId="urn:microsoft.com/office/officeart/2008/layout/AscendingPictureAccent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DD0BFF-0B17-47BF-8CDD-BF97D2DF4F25}">
      <dgm:prSet custT="1"/>
      <dgm:spPr/>
      <dgm:t>
        <a:bodyPr/>
        <a:lstStyle/>
        <a:p>
          <a:r>
            <a:rPr lang="en-GB" sz="1050" dirty="0"/>
            <a:t>  CSD </a:t>
          </a:r>
          <a:endParaRPr lang="en-US" sz="1050" dirty="0"/>
        </a:p>
      </dgm:t>
    </dgm:pt>
    <dgm:pt modelId="{1877559A-2C30-43FA-AC10-A5C9AF98E0D5}" type="parTrans" cxnId="{3607DA78-FB74-4E1B-86E7-45D3F0EF6D69}">
      <dgm:prSet/>
      <dgm:spPr/>
      <dgm:t>
        <a:bodyPr/>
        <a:lstStyle/>
        <a:p>
          <a:endParaRPr lang="en-US" sz="1050"/>
        </a:p>
      </dgm:t>
    </dgm:pt>
    <dgm:pt modelId="{AA7B556E-E43E-466E-A8C5-B04F6DAA429F}" type="sibTrans" cxnId="{3607DA78-FB74-4E1B-86E7-45D3F0EF6D69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effectLst>
          <a:outerShdw blurRad="50800" dist="50800" dir="5400000" algn="ctr" rotWithShape="0">
            <a:schemeClr val="tx1"/>
          </a:outerShdw>
        </a:effectLst>
      </dgm:spPr>
      <dgm:t>
        <a:bodyPr/>
        <a:lstStyle/>
        <a:p>
          <a:endParaRPr lang="en-US" sz="1050"/>
        </a:p>
      </dgm:t>
    </dgm:pt>
    <dgm:pt modelId="{DB9C48A4-A5E3-4553-A026-AB29BBF09E67}">
      <dgm:prSet custT="1"/>
      <dgm:spPr/>
      <dgm:t>
        <a:bodyPr/>
        <a:lstStyle/>
        <a:p>
          <a:r>
            <a:rPr lang="en-GB" sz="1050" dirty="0" err="1"/>
            <a:t>Kottu</a:t>
          </a:r>
          <a:endParaRPr lang="en-US" sz="1050" dirty="0"/>
        </a:p>
      </dgm:t>
    </dgm:pt>
    <dgm:pt modelId="{A4CA1941-E255-43E4-B22F-0D65697E7DA0}" type="parTrans" cxnId="{8C2DCE29-EE9C-438F-AA07-CB481C58A256}">
      <dgm:prSet/>
      <dgm:spPr/>
      <dgm:t>
        <a:bodyPr/>
        <a:lstStyle/>
        <a:p>
          <a:endParaRPr lang="en-US" sz="1050"/>
        </a:p>
      </dgm:t>
    </dgm:pt>
    <dgm:pt modelId="{6DF15DDC-F110-4E27-BDE0-D92A7F39CFC8}" type="sibTrans" cxnId="{8C2DCE29-EE9C-438F-AA07-CB481C58A256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9000" r="-29000"/>
          </a:stretch>
        </a:blipFill>
      </dgm:spPr>
      <dgm:t>
        <a:bodyPr/>
        <a:lstStyle/>
        <a:p>
          <a:endParaRPr lang="en-US" sz="1050"/>
        </a:p>
      </dgm:t>
    </dgm:pt>
    <dgm:pt modelId="{9DD76599-18C9-4168-870D-452B7862CB53}">
      <dgm:prSet custT="1"/>
      <dgm:spPr/>
      <dgm:t>
        <a:bodyPr/>
        <a:lstStyle/>
        <a:p>
          <a:r>
            <a:rPr lang="en-GB" sz="1050" dirty="0"/>
            <a:t>Breads &amp; buns</a:t>
          </a:r>
          <a:endParaRPr lang="en-US" sz="1050" dirty="0"/>
        </a:p>
      </dgm:t>
    </dgm:pt>
    <dgm:pt modelId="{FA6DD11D-0433-403E-9372-DAD8D71A4071}" type="parTrans" cxnId="{39253093-D1D1-4367-9117-C401A1983C94}">
      <dgm:prSet/>
      <dgm:spPr/>
      <dgm:t>
        <a:bodyPr/>
        <a:lstStyle/>
        <a:p>
          <a:endParaRPr lang="en-US" sz="1050"/>
        </a:p>
      </dgm:t>
    </dgm:pt>
    <dgm:pt modelId="{A8490960-FC0A-4900-8149-06E03EC22AD6}" type="sibTrans" cxnId="{39253093-D1D1-4367-9117-C401A1983C94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  <dgm:t>
        <a:bodyPr/>
        <a:lstStyle/>
        <a:p>
          <a:endParaRPr lang="en-US" sz="1050"/>
        </a:p>
      </dgm:t>
    </dgm:pt>
    <dgm:pt modelId="{49B93031-34C8-41B5-BC1A-4A9E077F2828}">
      <dgm:prSet custT="1"/>
      <dgm:spPr/>
      <dgm:t>
        <a:bodyPr/>
        <a:lstStyle/>
        <a:p>
          <a:r>
            <a:rPr lang="en-GB" sz="1050" dirty="0"/>
            <a:t> pizza</a:t>
          </a:r>
          <a:endParaRPr lang="en-US" sz="1050" dirty="0"/>
        </a:p>
      </dgm:t>
    </dgm:pt>
    <dgm:pt modelId="{41905479-0C81-4E7B-B8B2-AD046A8FFC39}" type="parTrans" cxnId="{EC3944EA-78E0-41AC-8BE1-85F677C2EF43}">
      <dgm:prSet/>
      <dgm:spPr/>
      <dgm:t>
        <a:bodyPr/>
        <a:lstStyle/>
        <a:p>
          <a:endParaRPr lang="en-US" sz="1050"/>
        </a:p>
      </dgm:t>
    </dgm:pt>
    <dgm:pt modelId="{673971CB-BA70-40BA-A222-E0A8FD5391D7}" type="sibTrans" cxnId="{EC3944EA-78E0-41AC-8BE1-85F677C2EF43}">
      <dgm:prSet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</dgm:spPr>
      <dgm:t>
        <a:bodyPr/>
        <a:lstStyle/>
        <a:p>
          <a:endParaRPr lang="en-US" sz="1050"/>
        </a:p>
      </dgm:t>
    </dgm:pt>
    <dgm:pt modelId="{8DF03132-3D96-43BC-B268-7ECB2A50EEAD}">
      <dgm:prSet custT="1"/>
      <dgm:spPr/>
      <dgm:t>
        <a:bodyPr/>
        <a:lstStyle/>
        <a:p>
          <a:endParaRPr lang="en-US" sz="1050"/>
        </a:p>
      </dgm:t>
    </dgm:pt>
    <dgm:pt modelId="{25BFA720-3CE8-4DB1-A56E-79B1B07B604A}" type="parTrans" cxnId="{CB7CB063-74C6-4DE8-9624-B559B1513A23}">
      <dgm:prSet/>
      <dgm:spPr/>
      <dgm:t>
        <a:bodyPr/>
        <a:lstStyle/>
        <a:p>
          <a:endParaRPr lang="en-US" sz="1050"/>
        </a:p>
      </dgm:t>
    </dgm:pt>
    <dgm:pt modelId="{BD29B8A8-8161-45FC-8288-C28562F74A9C}" type="sibTrans" cxnId="{CB7CB063-74C6-4DE8-9624-B559B1513A23}">
      <dgm:prSet/>
      <dgm:spPr/>
      <dgm:t>
        <a:bodyPr/>
        <a:lstStyle/>
        <a:p>
          <a:endParaRPr lang="en-US" sz="1050"/>
        </a:p>
      </dgm:t>
    </dgm:pt>
    <dgm:pt modelId="{FB9E097A-EB51-4CB8-9753-B8B85049198E}">
      <dgm:prSet custT="1"/>
      <dgm:spPr/>
      <dgm:t>
        <a:bodyPr/>
        <a:lstStyle/>
        <a:p>
          <a:r>
            <a:rPr lang="en-GB" sz="1050" dirty="0"/>
            <a:t>  burger and chips </a:t>
          </a:r>
          <a:endParaRPr lang="en-US" sz="1050" dirty="0"/>
        </a:p>
      </dgm:t>
    </dgm:pt>
    <dgm:pt modelId="{787ED3D8-F4BF-406B-9BF1-76399CDAF885}" type="parTrans" cxnId="{E0F9856C-E989-49E4-84A2-2D062CD39E56}">
      <dgm:prSet/>
      <dgm:spPr/>
      <dgm:t>
        <a:bodyPr/>
        <a:lstStyle/>
        <a:p>
          <a:endParaRPr lang="en-US" sz="1050"/>
        </a:p>
      </dgm:t>
    </dgm:pt>
    <dgm:pt modelId="{D642FBF7-1E95-45E4-86CD-67D70873A932}" type="sibTrans" cxnId="{E0F9856C-E989-49E4-84A2-2D062CD39E56}">
      <dgm:prSet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  <dgm:t>
        <a:bodyPr/>
        <a:lstStyle/>
        <a:p>
          <a:endParaRPr lang="en-US" sz="1050"/>
        </a:p>
      </dgm:t>
    </dgm:pt>
    <dgm:pt modelId="{452AB155-8792-4AB3-9412-AC0D86EA186A}">
      <dgm:prSet custT="1"/>
      <dgm:spPr/>
      <dgm:t>
        <a:bodyPr/>
        <a:lstStyle/>
        <a:p>
          <a:endParaRPr lang="en-US" sz="1050"/>
        </a:p>
      </dgm:t>
    </dgm:pt>
    <dgm:pt modelId="{DDBD46CF-F814-4418-9A4C-ABE27A9F9692}" type="parTrans" cxnId="{8C8947C5-C5CE-4B75-B708-BA7FC79D7869}">
      <dgm:prSet/>
      <dgm:spPr/>
      <dgm:t>
        <a:bodyPr/>
        <a:lstStyle/>
        <a:p>
          <a:endParaRPr lang="en-US" sz="1050"/>
        </a:p>
      </dgm:t>
    </dgm:pt>
    <dgm:pt modelId="{E7ADFF8B-EC1F-4CA1-B5E5-79379CB4FFB1}" type="sibTrans" cxnId="{8C8947C5-C5CE-4B75-B708-BA7FC79D7869}">
      <dgm:prSet/>
      <dgm:spPr/>
      <dgm:t>
        <a:bodyPr/>
        <a:lstStyle/>
        <a:p>
          <a:endParaRPr lang="en-US" sz="1050"/>
        </a:p>
      </dgm:t>
    </dgm:pt>
    <dgm:pt modelId="{97ED5249-9C08-4A20-81F5-B072A6B9D7F2}">
      <dgm:prSet custT="1"/>
      <dgm:spPr/>
      <dgm:t>
        <a:bodyPr/>
        <a:lstStyle/>
        <a:p>
          <a:endParaRPr lang="en-US" sz="1050"/>
        </a:p>
      </dgm:t>
    </dgm:pt>
    <dgm:pt modelId="{7E9602BD-9D9E-46CA-B76A-F6BF320199CE}" type="parTrans" cxnId="{70325868-FBD9-4C5B-A563-564810F0EB24}">
      <dgm:prSet/>
      <dgm:spPr/>
      <dgm:t>
        <a:bodyPr/>
        <a:lstStyle/>
        <a:p>
          <a:endParaRPr lang="en-US" sz="1050"/>
        </a:p>
      </dgm:t>
    </dgm:pt>
    <dgm:pt modelId="{D1075256-055F-4F1A-8CB0-2FF0F2296DFA}" type="sibTrans" cxnId="{70325868-FBD9-4C5B-A563-564810F0EB24}">
      <dgm:prSet/>
      <dgm:spPr/>
      <dgm:t>
        <a:bodyPr/>
        <a:lstStyle/>
        <a:p>
          <a:endParaRPr lang="en-US" sz="1050"/>
        </a:p>
      </dgm:t>
    </dgm:pt>
    <dgm:pt modelId="{16B4A95F-4EDF-4F6B-9091-51A38BBEFFBB}">
      <dgm:prSet custT="1"/>
      <dgm:spPr/>
      <dgm:t>
        <a:bodyPr/>
        <a:lstStyle/>
        <a:p>
          <a:r>
            <a:rPr lang="en-GB" sz="1050" dirty="0"/>
            <a:t>snacks</a:t>
          </a:r>
          <a:endParaRPr lang="en-US" sz="1050" dirty="0"/>
        </a:p>
      </dgm:t>
    </dgm:pt>
    <dgm:pt modelId="{288D35EA-1A56-4CEC-907D-BC5BDDD66EC0}" type="sibTrans" cxnId="{06A399EA-9459-493C-85F5-0BD57AFDE3DC}">
      <dgm:prSet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9000" r="-59000"/>
          </a:stretch>
        </a:blipFill>
      </dgm:spPr>
      <dgm:t>
        <a:bodyPr/>
        <a:lstStyle/>
        <a:p>
          <a:endParaRPr lang="en-US" sz="1050"/>
        </a:p>
      </dgm:t>
    </dgm:pt>
    <dgm:pt modelId="{C29C0139-7975-4926-A0A6-2C82E1453BC9}" type="parTrans" cxnId="{06A399EA-9459-493C-85F5-0BD57AFDE3DC}">
      <dgm:prSet/>
      <dgm:spPr/>
      <dgm:t>
        <a:bodyPr/>
        <a:lstStyle/>
        <a:p>
          <a:endParaRPr lang="en-US" sz="1050"/>
        </a:p>
      </dgm:t>
    </dgm:pt>
    <dgm:pt modelId="{8ABA0E99-FACF-4DF4-89A3-8A1FD381ED97}">
      <dgm:prSet custT="1"/>
      <dgm:spPr/>
      <dgm:t>
        <a:bodyPr/>
        <a:lstStyle/>
        <a:p>
          <a:r>
            <a:rPr lang="en-GB" sz="1050" dirty="0"/>
            <a:t>cakes</a:t>
          </a:r>
          <a:endParaRPr lang="en-US" sz="1050" dirty="0"/>
        </a:p>
      </dgm:t>
    </dgm:pt>
    <dgm:pt modelId="{7B6E7C11-6F45-44AB-95C6-A722D259005B}" type="parTrans" cxnId="{955F43B2-4D53-41DC-8123-41C99BF34AE9}">
      <dgm:prSet/>
      <dgm:spPr/>
      <dgm:t>
        <a:bodyPr/>
        <a:lstStyle/>
        <a:p>
          <a:endParaRPr lang="en-US" sz="1050"/>
        </a:p>
      </dgm:t>
    </dgm:pt>
    <dgm:pt modelId="{A3A45F7C-F0AA-4385-80B1-F9854EB0C14B}" type="sibTrans" cxnId="{955F43B2-4D53-41DC-8123-41C99BF34AE9}">
      <dgm:prSet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0" r="-30000"/>
          </a:stretch>
        </a:blipFill>
      </dgm:spPr>
      <dgm:t>
        <a:bodyPr/>
        <a:lstStyle/>
        <a:p>
          <a:endParaRPr lang="en-US" sz="1050"/>
        </a:p>
      </dgm:t>
    </dgm:pt>
    <dgm:pt modelId="{666B5E59-094A-423E-B933-E6AE6E52A0C5}" type="pres">
      <dgm:prSet presAssocID="{8BDCC40E-77DD-4091-BDC0-F19642A1E8AF}" presName="Name0" presStyleCnt="0">
        <dgm:presLayoutVars>
          <dgm:chMax val="7"/>
          <dgm:chPref val="7"/>
          <dgm:dir/>
        </dgm:presLayoutVars>
      </dgm:prSet>
      <dgm:spPr/>
    </dgm:pt>
    <dgm:pt modelId="{BAF1FC98-1C4E-4234-A6C3-08FAC5BA71AA}" type="pres">
      <dgm:prSet presAssocID="{8BDCC40E-77DD-4091-BDC0-F19642A1E8AF}" presName="dot1" presStyleLbl="alignNode1" presStyleIdx="0" presStyleCnt="18"/>
      <dgm:spPr/>
    </dgm:pt>
    <dgm:pt modelId="{3DC5B992-6715-4452-B2B5-038B11834844}" type="pres">
      <dgm:prSet presAssocID="{8BDCC40E-77DD-4091-BDC0-F19642A1E8AF}" presName="dot2" presStyleLbl="alignNode1" presStyleIdx="1" presStyleCnt="18"/>
      <dgm:spPr/>
    </dgm:pt>
    <dgm:pt modelId="{08DCCA92-165F-43A3-93D1-0DBE67FEBB9D}" type="pres">
      <dgm:prSet presAssocID="{8BDCC40E-77DD-4091-BDC0-F19642A1E8AF}" presName="dot3" presStyleLbl="alignNode1" presStyleIdx="2" presStyleCnt="18"/>
      <dgm:spPr/>
    </dgm:pt>
    <dgm:pt modelId="{C7B1014B-9359-4728-8BA1-2EE92AAF29DC}" type="pres">
      <dgm:prSet presAssocID="{8BDCC40E-77DD-4091-BDC0-F19642A1E8AF}" presName="dot4" presStyleLbl="alignNode1" presStyleIdx="3" presStyleCnt="18"/>
      <dgm:spPr/>
    </dgm:pt>
    <dgm:pt modelId="{E68ADDF1-EF80-4EE8-9A65-0608BCAA88DD}" type="pres">
      <dgm:prSet presAssocID="{8BDCC40E-77DD-4091-BDC0-F19642A1E8AF}" presName="dot5" presStyleLbl="alignNode1" presStyleIdx="4" presStyleCnt="18"/>
      <dgm:spPr/>
    </dgm:pt>
    <dgm:pt modelId="{CA34E250-61A9-445E-9E80-E09E3D7C9595}" type="pres">
      <dgm:prSet presAssocID="{8BDCC40E-77DD-4091-BDC0-F19642A1E8AF}" presName="dot6" presStyleLbl="alignNode1" presStyleIdx="5" presStyleCnt="18"/>
      <dgm:spPr/>
    </dgm:pt>
    <dgm:pt modelId="{150583A1-5D55-4B3B-9496-C703D61F1FD9}" type="pres">
      <dgm:prSet presAssocID="{8BDCC40E-77DD-4091-BDC0-F19642A1E8AF}" presName="dot7" presStyleLbl="alignNode1" presStyleIdx="6" presStyleCnt="18"/>
      <dgm:spPr/>
    </dgm:pt>
    <dgm:pt modelId="{6EA4A48B-6CF2-4B75-9CB7-04B9DDF76B8A}" type="pres">
      <dgm:prSet presAssocID="{8BDCC40E-77DD-4091-BDC0-F19642A1E8AF}" presName="dot8" presStyleLbl="alignNode1" presStyleIdx="7" presStyleCnt="18"/>
      <dgm:spPr/>
    </dgm:pt>
    <dgm:pt modelId="{7B4ACA16-5995-4620-928A-65C51ED86CB4}" type="pres">
      <dgm:prSet presAssocID="{8BDCC40E-77DD-4091-BDC0-F19642A1E8AF}" presName="dot9" presStyleLbl="alignNode1" presStyleIdx="8" presStyleCnt="18"/>
      <dgm:spPr/>
    </dgm:pt>
    <dgm:pt modelId="{0A7FC2A2-E357-4F3D-B151-CC8B4115B003}" type="pres">
      <dgm:prSet presAssocID="{8BDCC40E-77DD-4091-BDC0-F19642A1E8AF}" presName="dot10" presStyleLbl="alignNode1" presStyleIdx="9" presStyleCnt="18"/>
      <dgm:spPr/>
    </dgm:pt>
    <dgm:pt modelId="{BFEAD0E6-9297-48FB-B5C3-EC712DA19D5E}" type="pres">
      <dgm:prSet presAssocID="{8BDCC40E-77DD-4091-BDC0-F19642A1E8AF}" presName="dot11" presStyleLbl="alignNode1" presStyleIdx="10" presStyleCnt="18"/>
      <dgm:spPr/>
    </dgm:pt>
    <dgm:pt modelId="{5B79E1FE-701B-48AD-A78D-EA2467C01292}" type="pres">
      <dgm:prSet presAssocID="{8BDCC40E-77DD-4091-BDC0-F19642A1E8AF}" presName="dotArrow1" presStyleLbl="alignNode1" presStyleIdx="11" presStyleCnt="18"/>
      <dgm:spPr/>
    </dgm:pt>
    <dgm:pt modelId="{8FC2F9B4-26B2-4C48-A9A8-C98402C9C0FF}" type="pres">
      <dgm:prSet presAssocID="{8BDCC40E-77DD-4091-BDC0-F19642A1E8AF}" presName="dotArrow2" presStyleLbl="alignNode1" presStyleIdx="12" presStyleCnt="18"/>
      <dgm:spPr/>
    </dgm:pt>
    <dgm:pt modelId="{9FB04F40-C347-4C46-99DB-CDB180EA699F}" type="pres">
      <dgm:prSet presAssocID="{8BDCC40E-77DD-4091-BDC0-F19642A1E8AF}" presName="dotArrow3" presStyleLbl="alignNode1" presStyleIdx="13" presStyleCnt="18"/>
      <dgm:spPr/>
    </dgm:pt>
    <dgm:pt modelId="{E8F36A08-953A-4453-8D86-2B01BAA94C83}" type="pres">
      <dgm:prSet presAssocID="{8BDCC40E-77DD-4091-BDC0-F19642A1E8AF}" presName="dotArrow4" presStyleLbl="alignNode1" presStyleIdx="14" presStyleCnt="18"/>
      <dgm:spPr/>
    </dgm:pt>
    <dgm:pt modelId="{6EEF936D-BCDF-4EA9-9A9F-499F035CFB21}" type="pres">
      <dgm:prSet presAssocID="{8BDCC40E-77DD-4091-BDC0-F19642A1E8AF}" presName="dotArrow5" presStyleLbl="alignNode1" presStyleIdx="15" presStyleCnt="18"/>
      <dgm:spPr/>
    </dgm:pt>
    <dgm:pt modelId="{D5F72F4D-7928-424D-9FBF-F7A6AFDBE576}" type="pres">
      <dgm:prSet presAssocID="{8BDCC40E-77DD-4091-BDC0-F19642A1E8AF}" presName="dotArrow6" presStyleLbl="alignNode1" presStyleIdx="16" presStyleCnt="18" custLinFactX="-38144" custLinFactY="-143455" custLinFactNeighborX="-100000" custLinFactNeighborY="-200000"/>
      <dgm:spPr/>
    </dgm:pt>
    <dgm:pt modelId="{1C15FFDD-3972-4A4F-AC40-574B0BA1B9EF}" type="pres">
      <dgm:prSet presAssocID="{8BDCC40E-77DD-4091-BDC0-F19642A1E8AF}" presName="dotArrow7" presStyleLbl="alignNode1" presStyleIdx="17" presStyleCnt="18"/>
      <dgm:spPr/>
    </dgm:pt>
    <dgm:pt modelId="{26DDAEC4-AB3C-4E8A-9751-36CE18EFA8CD}" type="pres">
      <dgm:prSet presAssocID="{C0DD0BFF-0B17-47BF-8CDD-BF97D2DF4F25}" presName="parTx1" presStyleLbl="node1" presStyleIdx="0" presStyleCnt="7" custScaleX="95824"/>
      <dgm:spPr/>
    </dgm:pt>
    <dgm:pt modelId="{2C368B7D-E306-49EC-8FAA-1A3B99A741EE}" type="pres">
      <dgm:prSet presAssocID="{AA7B556E-E43E-466E-A8C5-B04F6DAA429F}" presName="picture1" presStyleCnt="0"/>
      <dgm:spPr/>
    </dgm:pt>
    <dgm:pt modelId="{2A444632-DE31-4D53-A3B5-0B6B5338E5C1}" type="pres">
      <dgm:prSet presAssocID="{AA7B556E-E43E-466E-A8C5-B04F6DAA429F}" presName="imageRepeatNode" presStyleLbl="fgImgPlace1" presStyleIdx="0" presStyleCnt="7" custScaleX="160364" custScaleY="165024" custLinFactNeighborX="-11617" custLinFactNeighborY="-4987"/>
      <dgm:spPr/>
    </dgm:pt>
    <dgm:pt modelId="{EDA301A2-A5BC-4B0E-8A0B-00FD78201C05}" type="pres">
      <dgm:prSet presAssocID="{8ABA0E99-FACF-4DF4-89A3-8A1FD381ED97}" presName="parTx2" presStyleLbl="node1" presStyleIdx="1" presStyleCnt="7" custScaleX="116427" custScaleY="117341"/>
      <dgm:spPr/>
    </dgm:pt>
    <dgm:pt modelId="{E7AA5BD3-1355-4DB9-8949-8DF86B5D783B}" type="pres">
      <dgm:prSet presAssocID="{A3A45F7C-F0AA-4385-80B1-F9854EB0C14B}" presName="picture2" presStyleCnt="0"/>
      <dgm:spPr/>
    </dgm:pt>
    <dgm:pt modelId="{B02EA3F5-AF86-4448-9B8C-E888E4D15BF3}" type="pres">
      <dgm:prSet presAssocID="{A3A45F7C-F0AA-4385-80B1-F9854EB0C14B}" presName="imageRepeatNode" presStyleLbl="fgImgPlace1" presStyleIdx="1" presStyleCnt="7" custScaleX="166238" custScaleY="166211" custLinFactNeighborX="-87723" custLinFactNeighborY="-6321"/>
      <dgm:spPr/>
    </dgm:pt>
    <dgm:pt modelId="{83F830E5-1E4E-4CD7-80F2-8A3EC23F56C4}" type="pres">
      <dgm:prSet presAssocID="{16B4A95F-4EDF-4F6B-9091-51A38BBEFFBB}" presName="parTx3" presStyleLbl="node1" presStyleIdx="2" presStyleCnt="7"/>
      <dgm:spPr/>
    </dgm:pt>
    <dgm:pt modelId="{FE7349AA-BFD0-4813-ACE4-11FA6C86B350}" type="pres">
      <dgm:prSet presAssocID="{288D35EA-1A56-4CEC-907D-BC5BDDD66EC0}" presName="picture3" presStyleCnt="0"/>
      <dgm:spPr/>
    </dgm:pt>
    <dgm:pt modelId="{524E92C8-5687-4FEF-AC54-CF7488496D9C}" type="pres">
      <dgm:prSet presAssocID="{288D35EA-1A56-4CEC-907D-BC5BDDD66EC0}" presName="imageRepeatNode" presStyleLbl="fgImgPlace1" presStyleIdx="2" presStyleCnt="7" custScaleX="175585" custScaleY="185437" custLinFactNeighborX="-70273" custLinFactNeighborY="-6273"/>
      <dgm:spPr/>
    </dgm:pt>
    <dgm:pt modelId="{9FE782A1-BD1B-41B5-92FD-9C6B2C7F5AF6}" type="pres">
      <dgm:prSet presAssocID="{DB9C48A4-A5E3-4553-A026-AB29BBF09E67}" presName="parTx4" presStyleLbl="node1" presStyleIdx="3" presStyleCnt="7"/>
      <dgm:spPr/>
    </dgm:pt>
    <dgm:pt modelId="{4F56ADD7-2B8F-4E49-892A-CA8137350032}" type="pres">
      <dgm:prSet presAssocID="{6DF15DDC-F110-4E27-BDE0-D92A7F39CFC8}" presName="picture4" presStyleCnt="0"/>
      <dgm:spPr/>
    </dgm:pt>
    <dgm:pt modelId="{CF117472-A3A3-4A0A-9753-499F841CD530}" type="pres">
      <dgm:prSet presAssocID="{6DF15DDC-F110-4E27-BDE0-D92A7F39CFC8}" presName="imageRepeatNode" presStyleLbl="fgImgPlace1" presStyleIdx="3" presStyleCnt="7" custScaleX="187389" custScaleY="198612" custLinFactNeighborX="-61014" custLinFactNeighborY="-12466"/>
      <dgm:spPr/>
    </dgm:pt>
    <dgm:pt modelId="{DD92E731-6F72-455E-A2DA-5D5F90F17A45}" type="pres">
      <dgm:prSet presAssocID="{9DD76599-18C9-4168-870D-452B7862CB53}" presName="parTx5" presStyleLbl="node1" presStyleIdx="4" presStyleCnt="7" custScaleY="111729"/>
      <dgm:spPr/>
    </dgm:pt>
    <dgm:pt modelId="{6D804A35-A2E4-4E28-963F-1DBED684F51C}" type="pres">
      <dgm:prSet presAssocID="{A8490960-FC0A-4900-8149-06E03EC22AD6}" presName="picture5" presStyleCnt="0"/>
      <dgm:spPr/>
    </dgm:pt>
    <dgm:pt modelId="{32FE5DF4-7371-44BB-8231-020D9A7C9F1A}" type="pres">
      <dgm:prSet presAssocID="{A8490960-FC0A-4900-8149-06E03EC22AD6}" presName="imageRepeatNode" presStyleLbl="fgImgPlace1" presStyleIdx="4" presStyleCnt="7" custScaleX="181538" custScaleY="180233" custLinFactNeighborX="-43112" custLinFactNeighborY="-10034"/>
      <dgm:spPr/>
    </dgm:pt>
    <dgm:pt modelId="{C0D017AE-4C4C-48F4-91BF-D2C3DCBCD921}" type="pres">
      <dgm:prSet presAssocID="{49B93031-34C8-41B5-BC1A-4A9E077F2828}" presName="parTx6" presStyleLbl="node1" presStyleIdx="5" presStyleCnt="7" custLinFactNeighborX="14165" custLinFactNeighborY="2261"/>
      <dgm:spPr/>
    </dgm:pt>
    <dgm:pt modelId="{3A545872-0BB6-46C4-84D2-951F8BD6C472}" type="pres">
      <dgm:prSet presAssocID="{673971CB-BA70-40BA-A222-E0A8FD5391D7}" presName="picture6" presStyleCnt="0"/>
      <dgm:spPr/>
    </dgm:pt>
    <dgm:pt modelId="{4EB73C31-ECB8-463C-8B72-6C59A673F95D}" type="pres">
      <dgm:prSet presAssocID="{673971CB-BA70-40BA-A222-E0A8FD5391D7}" presName="imageRepeatNode" presStyleLbl="fgImgPlace1" presStyleIdx="5" presStyleCnt="7" custScaleX="160639" custScaleY="178145"/>
      <dgm:spPr/>
    </dgm:pt>
    <dgm:pt modelId="{F7265B98-7CE3-4F3E-B0F9-F02B0E10838F}" type="pres">
      <dgm:prSet presAssocID="{FB9E097A-EB51-4CB8-9753-B8B85049198E}" presName="parTx7" presStyleLbl="node1" presStyleIdx="6" presStyleCnt="7" custScaleY="167795" custLinFactNeighborX="20485" custLinFactNeighborY="-3747"/>
      <dgm:spPr/>
    </dgm:pt>
    <dgm:pt modelId="{AF12CECC-7BFB-40BD-A596-E7AB76644D44}" type="pres">
      <dgm:prSet presAssocID="{FB9E097A-EB51-4CB8-9753-B8B85049198E}" presName="desTx7" presStyleLbl="revTx" presStyleIdx="0" presStyleCnt="1">
        <dgm:presLayoutVars>
          <dgm:bulletEnabled val="1"/>
        </dgm:presLayoutVars>
      </dgm:prSet>
      <dgm:spPr/>
    </dgm:pt>
    <dgm:pt modelId="{5AB0CF72-C8B6-474A-AE54-CA70AFC30680}" type="pres">
      <dgm:prSet presAssocID="{D642FBF7-1E95-45E4-86CD-67D70873A932}" presName="picture7" presStyleCnt="0"/>
      <dgm:spPr/>
    </dgm:pt>
    <dgm:pt modelId="{30BF7839-3147-40C1-80C5-F91DAAA8F5CA}" type="pres">
      <dgm:prSet presAssocID="{D642FBF7-1E95-45E4-86CD-67D70873A932}" presName="imageRepeatNode" presStyleLbl="fgImgPlace1" presStyleIdx="6" presStyleCnt="7" custAng="21404656" custScaleX="173556" custScaleY="174308" custLinFactNeighborX="14188" custLinFactNeighborY="-31620"/>
      <dgm:spPr/>
    </dgm:pt>
  </dgm:ptLst>
  <dgm:cxnLst>
    <dgm:cxn modelId="{E58C0800-4CAC-40B1-9A27-3E5B10935200}" type="presOf" srcId="{D642FBF7-1E95-45E4-86CD-67D70873A932}" destId="{30BF7839-3147-40C1-80C5-F91DAAA8F5CA}" srcOrd="0" destOrd="0" presId="urn:microsoft.com/office/officeart/2008/layout/AscendingPictureAccentProcess"/>
    <dgm:cxn modelId="{95562B01-ED7A-4245-B1B7-FA11F9553DDF}" type="presOf" srcId="{9DD76599-18C9-4168-870D-452B7862CB53}" destId="{DD92E731-6F72-455E-A2DA-5D5F90F17A45}" srcOrd="0" destOrd="0" presId="urn:microsoft.com/office/officeart/2008/layout/AscendingPictureAccentProcess"/>
    <dgm:cxn modelId="{64F72C27-22F5-48DD-8BD1-8367426D15D0}" type="presOf" srcId="{97ED5249-9C08-4A20-81F5-B072A6B9D7F2}" destId="{AF12CECC-7BFB-40BD-A596-E7AB76644D44}" srcOrd="0" destOrd="2" presId="urn:microsoft.com/office/officeart/2008/layout/AscendingPictureAccentProcess"/>
    <dgm:cxn modelId="{8C2DCE29-EE9C-438F-AA07-CB481C58A256}" srcId="{8BDCC40E-77DD-4091-BDC0-F19642A1E8AF}" destId="{DB9C48A4-A5E3-4553-A026-AB29BBF09E67}" srcOrd="3" destOrd="0" parTransId="{A4CA1941-E255-43E4-B22F-0D65697E7DA0}" sibTransId="{6DF15DDC-F110-4E27-BDE0-D92A7F39CFC8}"/>
    <dgm:cxn modelId="{877BA52E-829A-4AA3-8549-B482F7E31135}" type="presOf" srcId="{8DF03132-3D96-43BC-B268-7ECB2A50EEAD}" destId="{AF12CECC-7BFB-40BD-A596-E7AB76644D44}" srcOrd="0" destOrd="0" presId="urn:microsoft.com/office/officeart/2008/layout/AscendingPictureAccentProcess"/>
    <dgm:cxn modelId="{2E854434-547A-46D8-8833-C5AF311E433D}" type="presOf" srcId="{FB9E097A-EB51-4CB8-9753-B8B85049198E}" destId="{F7265B98-7CE3-4F3E-B0F9-F02B0E10838F}" srcOrd="0" destOrd="0" presId="urn:microsoft.com/office/officeart/2008/layout/AscendingPictureAccentProcess"/>
    <dgm:cxn modelId="{D9FC3A40-5733-4BBD-A868-19743612ED87}" type="presOf" srcId="{A3A45F7C-F0AA-4385-80B1-F9854EB0C14B}" destId="{B02EA3F5-AF86-4448-9B8C-E888E4D15BF3}" srcOrd="0" destOrd="0" presId="urn:microsoft.com/office/officeart/2008/layout/AscendingPictureAccentProcess"/>
    <dgm:cxn modelId="{CB7CB063-74C6-4DE8-9624-B559B1513A23}" srcId="{FB9E097A-EB51-4CB8-9753-B8B85049198E}" destId="{8DF03132-3D96-43BC-B268-7ECB2A50EEAD}" srcOrd="0" destOrd="0" parTransId="{25BFA720-3CE8-4DB1-A56E-79B1B07B604A}" sibTransId="{BD29B8A8-8161-45FC-8288-C28562F74A9C}"/>
    <dgm:cxn modelId="{52591567-5CC1-4EF6-A501-090888CA70B1}" type="presOf" srcId="{452AB155-8792-4AB3-9412-AC0D86EA186A}" destId="{AF12CECC-7BFB-40BD-A596-E7AB76644D44}" srcOrd="0" destOrd="1" presId="urn:microsoft.com/office/officeart/2008/layout/AscendingPictureAccentProcess"/>
    <dgm:cxn modelId="{70325868-FBD9-4C5B-A563-564810F0EB24}" srcId="{FB9E097A-EB51-4CB8-9753-B8B85049198E}" destId="{97ED5249-9C08-4A20-81F5-B072A6B9D7F2}" srcOrd="2" destOrd="0" parTransId="{7E9602BD-9D9E-46CA-B76A-F6BF320199CE}" sibTransId="{D1075256-055F-4F1A-8CB0-2FF0F2296DFA}"/>
    <dgm:cxn modelId="{193BD96B-7B3A-4B32-80EC-862EFEE1A617}" type="presOf" srcId="{A8490960-FC0A-4900-8149-06E03EC22AD6}" destId="{32FE5DF4-7371-44BB-8231-020D9A7C9F1A}" srcOrd="0" destOrd="0" presId="urn:microsoft.com/office/officeart/2008/layout/AscendingPictureAccentProcess"/>
    <dgm:cxn modelId="{E0F9856C-E989-49E4-84A2-2D062CD39E56}" srcId="{8BDCC40E-77DD-4091-BDC0-F19642A1E8AF}" destId="{FB9E097A-EB51-4CB8-9753-B8B85049198E}" srcOrd="6" destOrd="0" parTransId="{787ED3D8-F4BF-406B-9BF1-76399CDAF885}" sibTransId="{D642FBF7-1E95-45E4-86CD-67D70873A932}"/>
    <dgm:cxn modelId="{4C84CB72-8169-4741-8789-B96B0F091F2A}" type="presOf" srcId="{6DF15DDC-F110-4E27-BDE0-D92A7F39CFC8}" destId="{CF117472-A3A3-4A0A-9753-499F841CD530}" srcOrd="0" destOrd="0" presId="urn:microsoft.com/office/officeart/2008/layout/AscendingPictureAccentProcess"/>
    <dgm:cxn modelId="{E4879374-555C-4267-9885-CA328232751E}" type="presOf" srcId="{AA7B556E-E43E-466E-A8C5-B04F6DAA429F}" destId="{2A444632-DE31-4D53-A3B5-0B6B5338E5C1}" srcOrd="0" destOrd="0" presId="urn:microsoft.com/office/officeart/2008/layout/AscendingPictureAccentProcess"/>
    <dgm:cxn modelId="{3607DA78-FB74-4E1B-86E7-45D3F0EF6D69}" srcId="{8BDCC40E-77DD-4091-BDC0-F19642A1E8AF}" destId="{C0DD0BFF-0B17-47BF-8CDD-BF97D2DF4F25}" srcOrd="0" destOrd="0" parTransId="{1877559A-2C30-43FA-AC10-A5C9AF98E0D5}" sibTransId="{AA7B556E-E43E-466E-A8C5-B04F6DAA429F}"/>
    <dgm:cxn modelId="{39253093-D1D1-4367-9117-C401A1983C94}" srcId="{8BDCC40E-77DD-4091-BDC0-F19642A1E8AF}" destId="{9DD76599-18C9-4168-870D-452B7862CB53}" srcOrd="4" destOrd="0" parTransId="{FA6DD11D-0433-403E-9372-DAD8D71A4071}" sibTransId="{A8490960-FC0A-4900-8149-06E03EC22AD6}"/>
    <dgm:cxn modelId="{BF6F5994-8A68-4037-B5A4-CFA76AE98448}" type="presOf" srcId="{288D35EA-1A56-4CEC-907D-BC5BDDD66EC0}" destId="{524E92C8-5687-4FEF-AC54-CF7488496D9C}" srcOrd="0" destOrd="0" presId="urn:microsoft.com/office/officeart/2008/layout/AscendingPictureAccentProcess"/>
    <dgm:cxn modelId="{A002CCA6-533A-4EAD-9F0C-D29098447C72}" type="presOf" srcId="{16B4A95F-4EDF-4F6B-9091-51A38BBEFFBB}" destId="{83F830E5-1E4E-4CD7-80F2-8A3EC23F56C4}" srcOrd="0" destOrd="0" presId="urn:microsoft.com/office/officeart/2008/layout/AscendingPictureAccentProcess"/>
    <dgm:cxn modelId="{C97BCBAB-563A-4F75-B790-DD4FD9C386EA}" type="presOf" srcId="{49B93031-34C8-41B5-BC1A-4A9E077F2828}" destId="{C0D017AE-4C4C-48F4-91BF-D2C3DCBCD921}" srcOrd="0" destOrd="0" presId="urn:microsoft.com/office/officeart/2008/layout/AscendingPictureAccentProcess"/>
    <dgm:cxn modelId="{E901B3AF-9BF5-477C-9687-186A9BA06549}" type="presOf" srcId="{C0DD0BFF-0B17-47BF-8CDD-BF97D2DF4F25}" destId="{26DDAEC4-AB3C-4E8A-9751-36CE18EFA8CD}" srcOrd="0" destOrd="0" presId="urn:microsoft.com/office/officeart/2008/layout/AscendingPictureAccentProcess"/>
    <dgm:cxn modelId="{955F43B2-4D53-41DC-8123-41C99BF34AE9}" srcId="{8BDCC40E-77DD-4091-BDC0-F19642A1E8AF}" destId="{8ABA0E99-FACF-4DF4-89A3-8A1FD381ED97}" srcOrd="1" destOrd="0" parTransId="{7B6E7C11-6F45-44AB-95C6-A722D259005B}" sibTransId="{A3A45F7C-F0AA-4385-80B1-F9854EB0C14B}"/>
    <dgm:cxn modelId="{D6E25AB6-4E05-4A88-9F33-F075E90D2B30}" type="presOf" srcId="{673971CB-BA70-40BA-A222-E0A8FD5391D7}" destId="{4EB73C31-ECB8-463C-8B72-6C59A673F95D}" srcOrd="0" destOrd="0" presId="urn:microsoft.com/office/officeart/2008/layout/AscendingPictureAccentProcess"/>
    <dgm:cxn modelId="{8C8947C5-C5CE-4B75-B708-BA7FC79D7869}" srcId="{FB9E097A-EB51-4CB8-9753-B8B85049198E}" destId="{452AB155-8792-4AB3-9412-AC0D86EA186A}" srcOrd="1" destOrd="0" parTransId="{DDBD46CF-F814-4418-9A4C-ABE27A9F9692}" sibTransId="{E7ADFF8B-EC1F-4CA1-B5E5-79379CB4FFB1}"/>
    <dgm:cxn modelId="{701883E4-2B39-4F1A-B5D6-E3CDCDE5C65E}" type="presOf" srcId="{8BDCC40E-77DD-4091-BDC0-F19642A1E8AF}" destId="{666B5E59-094A-423E-B933-E6AE6E52A0C5}" srcOrd="0" destOrd="0" presId="urn:microsoft.com/office/officeart/2008/layout/AscendingPictureAccentProcess"/>
    <dgm:cxn modelId="{AEA59EE8-14CD-4D5B-B25D-A8B81A0E1D7D}" type="presOf" srcId="{DB9C48A4-A5E3-4553-A026-AB29BBF09E67}" destId="{9FE782A1-BD1B-41B5-92FD-9C6B2C7F5AF6}" srcOrd="0" destOrd="0" presId="urn:microsoft.com/office/officeart/2008/layout/AscendingPictureAccentProcess"/>
    <dgm:cxn modelId="{EC3944EA-78E0-41AC-8BE1-85F677C2EF43}" srcId="{8BDCC40E-77DD-4091-BDC0-F19642A1E8AF}" destId="{49B93031-34C8-41B5-BC1A-4A9E077F2828}" srcOrd="5" destOrd="0" parTransId="{41905479-0C81-4E7B-B8B2-AD046A8FFC39}" sibTransId="{673971CB-BA70-40BA-A222-E0A8FD5391D7}"/>
    <dgm:cxn modelId="{06A399EA-9459-493C-85F5-0BD57AFDE3DC}" srcId="{8BDCC40E-77DD-4091-BDC0-F19642A1E8AF}" destId="{16B4A95F-4EDF-4F6B-9091-51A38BBEFFBB}" srcOrd="2" destOrd="0" parTransId="{C29C0139-7975-4926-A0A6-2C82E1453BC9}" sibTransId="{288D35EA-1A56-4CEC-907D-BC5BDDD66EC0}"/>
    <dgm:cxn modelId="{447A5AF4-5497-40D9-B76B-6E59DC699A00}" type="presOf" srcId="{8ABA0E99-FACF-4DF4-89A3-8A1FD381ED97}" destId="{EDA301A2-A5BC-4B0E-8A0B-00FD78201C05}" srcOrd="0" destOrd="0" presId="urn:microsoft.com/office/officeart/2008/layout/AscendingPictureAccentProcess"/>
    <dgm:cxn modelId="{F5CB9CED-DB93-4005-B234-7003552FD890}" type="presParOf" srcId="{666B5E59-094A-423E-B933-E6AE6E52A0C5}" destId="{BAF1FC98-1C4E-4234-A6C3-08FAC5BA71AA}" srcOrd="0" destOrd="0" presId="urn:microsoft.com/office/officeart/2008/layout/AscendingPictureAccentProcess"/>
    <dgm:cxn modelId="{EAECC669-9419-44A0-A14E-7BD59B1EB197}" type="presParOf" srcId="{666B5E59-094A-423E-B933-E6AE6E52A0C5}" destId="{3DC5B992-6715-4452-B2B5-038B11834844}" srcOrd="1" destOrd="0" presId="urn:microsoft.com/office/officeart/2008/layout/AscendingPictureAccentProcess"/>
    <dgm:cxn modelId="{125B94D6-8DFD-4306-9046-C0AA995231FB}" type="presParOf" srcId="{666B5E59-094A-423E-B933-E6AE6E52A0C5}" destId="{08DCCA92-165F-43A3-93D1-0DBE67FEBB9D}" srcOrd="2" destOrd="0" presId="urn:microsoft.com/office/officeart/2008/layout/AscendingPictureAccentProcess"/>
    <dgm:cxn modelId="{B231FFCB-0419-4CC5-9FE5-6B73F59287AF}" type="presParOf" srcId="{666B5E59-094A-423E-B933-E6AE6E52A0C5}" destId="{C7B1014B-9359-4728-8BA1-2EE92AAF29DC}" srcOrd="3" destOrd="0" presId="urn:microsoft.com/office/officeart/2008/layout/AscendingPictureAccentProcess"/>
    <dgm:cxn modelId="{0B9D9847-3FD2-497E-A1A3-12F14F96D26D}" type="presParOf" srcId="{666B5E59-094A-423E-B933-E6AE6E52A0C5}" destId="{E68ADDF1-EF80-4EE8-9A65-0608BCAA88DD}" srcOrd="4" destOrd="0" presId="urn:microsoft.com/office/officeart/2008/layout/AscendingPictureAccentProcess"/>
    <dgm:cxn modelId="{676FAC7F-0475-4321-96BA-1B4E57BD80BF}" type="presParOf" srcId="{666B5E59-094A-423E-B933-E6AE6E52A0C5}" destId="{CA34E250-61A9-445E-9E80-E09E3D7C9595}" srcOrd="5" destOrd="0" presId="urn:microsoft.com/office/officeart/2008/layout/AscendingPictureAccentProcess"/>
    <dgm:cxn modelId="{99DAA660-2533-43D6-8AEC-6BF40BA3A129}" type="presParOf" srcId="{666B5E59-094A-423E-B933-E6AE6E52A0C5}" destId="{150583A1-5D55-4B3B-9496-C703D61F1FD9}" srcOrd="6" destOrd="0" presId="urn:microsoft.com/office/officeart/2008/layout/AscendingPictureAccentProcess"/>
    <dgm:cxn modelId="{1DC9DEC5-7E4B-45D9-9C89-CE715FCA4935}" type="presParOf" srcId="{666B5E59-094A-423E-B933-E6AE6E52A0C5}" destId="{6EA4A48B-6CF2-4B75-9CB7-04B9DDF76B8A}" srcOrd="7" destOrd="0" presId="urn:microsoft.com/office/officeart/2008/layout/AscendingPictureAccentProcess"/>
    <dgm:cxn modelId="{3744E452-84EB-4BA8-A18A-03D30CD54C2C}" type="presParOf" srcId="{666B5E59-094A-423E-B933-E6AE6E52A0C5}" destId="{7B4ACA16-5995-4620-928A-65C51ED86CB4}" srcOrd="8" destOrd="0" presId="urn:microsoft.com/office/officeart/2008/layout/AscendingPictureAccentProcess"/>
    <dgm:cxn modelId="{515AD7D3-736A-4621-83C0-7CDA506B2350}" type="presParOf" srcId="{666B5E59-094A-423E-B933-E6AE6E52A0C5}" destId="{0A7FC2A2-E357-4F3D-B151-CC8B4115B003}" srcOrd="9" destOrd="0" presId="urn:microsoft.com/office/officeart/2008/layout/AscendingPictureAccentProcess"/>
    <dgm:cxn modelId="{7A2CF972-8757-48D8-ADCC-912A38E681BD}" type="presParOf" srcId="{666B5E59-094A-423E-B933-E6AE6E52A0C5}" destId="{BFEAD0E6-9297-48FB-B5C3-EC712DA19D5E}" srcOrd="10" destOrd="0" presId="urn:microsoft.com/office/officeart/2008/layout/AscendingPictureAccentProcess"/>
    <dgm:cxn modelId="{80A03200-0C0A-489E-97E6-B170FA2568C2}" type="presParOf" srcId="{666B5E59-094A-423E-B933-E6AE6E52A0C5}" destId="{5B79E1FE-701B-48AD-A78D-EA2467C01292}" srcOrd="11" destOrd="0" presId="urn:microsoft.com/office/officeart/2008/layout/AscendingPictureAccentProcess"/>
    <dgm:cxn modelId="{559C0C9A-CFE7-49CA-BE72-1198119DD07E}" type="presParOf" srcId="{666B5E59-094A-423E-B933-E6AE6E52A0C5}" destId="{8FC2F9B4-26B2-4C48-A9A8-C98402C9C0FF}" srcOrd="12" destOrd="0" presId="urn:microsoft.com/office/officeart/2008/layout/AscendingPictureAccentProcess"/>
    <dgm:cxn modelId="{0A41F9A5-3046-4921-9F29-AF577A425911}" type="presParOf" srcId="{666B5E59-094A-423E-B933-E6AE6E52A0C5}" destId="{9FB04F40-C347-4C46-99DB-CDB180EA699F}" srcOrd="13" destOrd="0" presId="urn:microsoft.com/office/officeart/2008/layout/AscendingPictureAccentProcess"/>
    <dgm:cxn modelId="{6FB1DA3A-85E8-4717-888C-5320D439C37A}" type="presParOf" srcId="{666B5E59-094A-423E-B933-E6AE6E52A0C5}" destId="{E8F36A08-953A-4453-8D86-2B01BAA94C83}" srcOrd="14" destOrd="0" presId="urn:microsoft.com/office/officeart/2008/layout/AscendingPictureAccentProcess"/>
    <dgm:cxn modelId="{4124A555-DB38-4E35-AF6D-7B509EFB4C1D}" type="presParOf" srcId="{666B5E59-094A-423E-B933-E6AE6E52A0C5}" destId="{6EEF936D-BCDF-4EA9-9A9F-499F035CFB21}" srcOrd="15" destOrd="0" presId="urn:microsoft.com/office/officeart/2008/layout/AscendingPictureAccentProcess"/>
    <dgm:cxn modelId="{44402320-8205-4F8F-91D0-DE3D779B701C}" type="presParOf" srcId="{666B5E59-094A-423E-B933-E6AE6E52A0C5}" destId="{D5F72F4D-7928-424D-9FBF-F7A6AFDBE576}" srcOrd="16" destOrd="0" presId="urn:microsoft.com/office/officeart/2008/layout/AscendingPictureAccentProcess"/>
    <dgm:cxn modelId="{6FD27805-FB51-4AD2-A8E9-B9397398A0F8}" type="presParOf" srcId="{666B5E59-094A-423E-B933-E6AE6E52A0C5}" destId="{1C15FFDD-3972-4A4F-AC40-574B0BA1B9EF}" srcOrd="17" destOrd="0" presId="urn:microsoft.com/office/officeart/2008/layout/AscendingPictureAccentProcess"/>
    <dgm:cxn modelId="{942F6EF7-052F-4A21-B318-615123015CBB}" type="presParOf" srcId="{666B5E59-094A-423E-B933-E6AE6E52A0C5}" destId="{26DDAEC4-AB3C-4E8A-9751-36CE18EFA8CD}" srcOrd="18" destOrd="0" presId="urn:microsoft.com/office/officeart/2008/layout/AscendingPictureAccentProcess"/>
    <dgm:cxn modelId="{C9794752-287A-47D9-8A5A-8C9DA612E953}" type="presParOf" srcId="{666B5E59-094A-423E-B933-E6AE6E52A0C5}" destId="{2C368B7D-E306-49EC-8FAA-1A3B99A741EE}" srcOrd="19" destOrd="0" presId="urn:microsoft.com/office/officeart/2008/layout/AscendingPictureAccentProcess"/>
    <dgm:cxn modelId="{C295E539-B545-48FE-8F74-AAD2F4A71750}" type="presParOf" srcId="{2C368B7D-E306-49EC-8FAA-1A3B99A741EE}" destId="{2A444632-DE31-4D53-A3B5-0B6B5338E5C1}" srcOrd="0" destOrd="0" presId="urn:microsoft.com/office/officeart/2008/layout/AscendingPictureAccentProcess"/>
    <dgm:cxn modelId="{71A66C63-D178-478E-823C-D2E2CDBF51AD}" type="presParOf" srcId="{666B5E59-094A-423E-B933-E6AE6E52A0C5}" destId="{EDA301A2-A5BC-4B0E-8A0B-00FD78201C05}" srcOrd="20" destOrd="0" presId="urn:microsoft.com/office/officeart/2008/layout/AscendingPictureAccentProcess"/>
    <dgm:cxn modelId="{298F5C93-EEB4-41FF-B338-11617AAD6F13}" type="presParOf" srcId="{666B5E59-094A-423E-B933-E6AE6E52A0C5}" destId="{E7AA5BD3-1355-4DB9-8949-8DF86B5D783B}" srcOrd="21" destOrd="0" presId="urn:microsoft.com/office/officeart/2008/layout/AscendingPictureAccentProcess"/>
    <dgm:cxn modelId="{E54A2C43-66C6-4751-860E-210C4B1E1BC4}" type="presParOf" srcId="{E7AA5BD3-1355-4DB9-8949-8DF86B5D783B}" destId="{B02EA3F5-AF86-4448-9B8C-E888E4D15BF3}" srcOrd="0" destOrd="0" presId="urn:microsoft.com/office/officeart/2008/layout/AscendingPictureAccentProcess"/>
    <dgm:cxn modelId="{E893C195-C48F-4458-9BED-71BB72A1BD69}" type="presParOf" srcId="{666B5E59-094A-423E-B933-E6AE6E52A0C5}" destId="{83F830E5-1E4E-4CD7-80F2-8A3EC23F56C4}" srcOrd="22" destOrd="0" presId="urn:microsoft.com/office/officeart/2008/layout/AscendingPictureAccentProcess"/>
    <dgm:cxn modelId="{68DE9CE3-9133-4EBD-B8DE-38DBBA787EBA}" type="presParOf" srcId="{666B5E59-094A-423E-B933-E6AE6E52A0C5}" destId="{FE7349AA-BFD0-4813-ACE4-11FA6C86B350}" srcOrd="23" destOrd="0" presId="urn:microsoft.com/office/officeart/2008/layout/AscendingPictureAccentProcess"/>
    <dgm:cxn modelId="{2E7D8F07-B07C-4CA6-B632-B43EFB13191A}" type="presParOf" srcId="{FE7349AA-BFD0-4813-ACE4-11FA6C86B350}" destId="{524E92C8-5687-4FEF-AC54-CF7488496D9C}" srcOrd="0" destOrd="0" presId="urn:microsoft.com/office/officeart/2008/layout/AscendingPictureAccentProcess"/>
    <dgm:cxn modelId="{83F190DD-1EAC-4421-A21D-860D4F889DCE}" type="presParOf" srcId="{666B5E59-094A-423E-B933-E6AE6E52A0C5}" destId="{9FE782A1-BD1B-41B5-92FD-9C6B2C7F5AF6}" srcOrd="24" destOrd="0" presId="urn:microsoft.com/office/officeart/2008/layout/AscendingPictureAccentProcess"/>
    <dgm:cxn modelId="{91BCF997-2C23-492A-9512-DF46896B6C1C}" type="presParOf" srcId="{666B5E59-094A-423E-B933-E6AE6E52A0C5}" destId="{4F56ADD7-2B8F-4E49-892A-CA8137350032}" srcOrd="25" destOrd="0" presId="urn:microsoft.com/office/officeart/2008/layout/AscendingPictureAccentProcess"/>
    <dgm:cxn modelId="{910D0959-98E2-4B3F-A710-590C519E25E4}" type="presParOf" srcId="{4F56ADD7-2B8F-4E49-892A-CA8137350032}" destId="{CF117472-A3A3-4A0A-9753-499F841CD530}" srcOrd="0" destOrd="0" presId="urn:microsoft.com/office/officeart/2008/layout/AscendingPictureAccentProcess"/>
    <dgm:cxn modelId="{4A00664F-8575-41A3-9202-621635345E1F}" type="presParOf" srcId="{666B5E59-094A-423E-B933-E6AE6E52A0C5}" destId="{DD92E731-6F72-455E-A2DA-5D5F90F17A45}" srcOrd="26" destOrd="0" presId="urn:microsoft.com/office/officeart/2008/layout/AscendingPictureAccentProcess"/>
    <dgm:cxn modelId="{8108B530-7837-4DC2-A387-B3996AF1C268}" type="presParOf" srcId="{666B5E59-094A-423E-B933-E6AE6E52A0C5}" destId="{6D804A35-A2E4-4E28-963F-1DBED684F51C}" srcOrd="27" destOrd="0" presId="urn:microsoft.com/office/officeart/2008/layout/AscendingPictureAccentProcess"/>
    <dgm:cxn modelId="{54B921CA-7D11-4511-9BDE-F04553A88755}" type="presParOf" srcId="{6D804A35-A2E4-4E28-963F-1DBED684F51C}" destId="{32FE5DF4-7371-44BB-8231-020D9A7C9F1A}" srcOrd="0" destOrd="0" presId="urn:microsoft.com/office/officeart/2008/layout/AscendingPictureAccentProcess"/>
    <dgm:cxn modelId="{D9849CB0-100A-467D-97D7-748EE26CE5B0}" type="presParOf" srcId="{666B5E59-094A-423E-B933-E6AE6E52A0C5}" destId="{C0D017AE-4C4C-48F4-91BF-D2C3DCBCD921}" srcOrd="28" destOrd="0" presId="urn:microsoft.com/office/officeart/2008/layout/AscendingPictureAccentProcess"/>
    <dgm:cxn modelId="{026FF0E3-931E-45BB-B2D4-0FA567F72803}" type="presParOf" srcId="{666B5E59-094A-423E-B933-E6AE6E52A0C5}" destId="{3A545872-0BB6-46C4-84D2-951F8BD6C472}" srcOrd="29" destOrd="0" presId="urn:microsoft.com/office/officeart/2008/layout/AscendingPictureAccentProcess"/>
    <dgm:cxn modelId="{768A8024-499D-49BD-9F78-41AC391C800F}" type="presParOf" srcId="{3A545872-0BB6-46C4-84D2-951F8BD6C472}" destId="{4EB73C31-ECB8-463C-8B72-6C59A673F95D}" srcOrd="0" destOrd="0" presId="urn:microsoft.com/office/officeart/2008/layout/AscendingPictureAccentProcess"/>
    <dgm:cxn modelId="{CEFD3CA0-9929-440F-8FDA-CF71E00B6827}" type="presParOf" srcId="{666B5E59-094A-423E-B933-E6AE6E52A0C5}" destId="{F7265B98-7CE3-4F3E-B0F9-F02B0E10838F}" srcOrd="30" destOrd="0" presId="urn:microsoft.com/office/officeart/2008/layout/AscendingPictureAccentProcess"/>
    <dgm:cxn modelId="{11686F95-3202-4EB5-BF8D-5CEAB893DD4D}" type="presParOf" srcId="{666B5E59-094A-423E-B933-E6AE6E52A0C5}" destId="{AF12CECC-7BFB-40BD-A596-E7AB76644D44}" srcOrd="31" destOrd="0" presId="urn:microsoft.com/office/officeart/2008/layout/AscendingPictureAccentProcess"/>
    <dgm:cxn modelId="{DF292880-E0BB-4532-9F88-A0E4FCA12B1B}" type="presParOf" srcId="{666B5E59-094A-423E-B933-E6AE6E52A0C5}" destId="{5AB0CF72-C8B6-474A-AE54-CA70AFC30680}" srcOrd="32" destOrd="0" presId="urn:microsoft.com/office/officeart/2008/layout/AscendingPictureAccentProcess"/>
    <dgm:cxn modelId="{5DB6A749-B700-43BC-9A23-96FB904D7F23}" type="presParOf" srcId="{5AB0CF72-C8B6-474A-AE54-CA70AFC30680}" destId="{30BF7839-3147-40C1-80C5-F91DAAA8F5CA}" srcOrd="0" destOrd="0" presId="urn:microsoft.com/office/officeart/2008/layout/AscendingPictureAccent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6FAD0D-C92F-4AA3-B189-9D86B715004E}" type="doc">
      <dgm:prSet loTypeId="urn:microsoft.com/office/officeart/2005/8/layout/arrow5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081090A-4EC7-4A6A-9DC2-A8322A335F87}">
      <dgm:prSet phldrT="[Text]"/>
      <dgm:spPr/>
      <dgm:t>
        <a:bodyPr/>
        <a:lstStyle/>
        <a:p>
          <a:r>
            <a:rPr lang="en-GB" dirty="0"/>
            <a:t>Behave </a:t>
          </a:r>
          <a:endParaRPr lang="en-US" dirty="0"/>
        </a:p>
      </dgm:t>
    </dgm:pt>
    <dgm:pt modelId="{665E9CB0-4F35-4901-8E78-BA561B861225}" type="parTrans" cxnId="{843643EC-DE96-458A-8ED9-22CD9218AEAB}">
      <dgm:prSet/>
      <dgm:spPr/>
      <dgm:t>
        <a:bodyPr/>
        <a:lstStyle/>
        <a:p>
          <a:endParaRPr lang="en-US"/>
        </a:p>
      </dgm:t>
    </dgm:pt>
    <dgm:pt modelId="{A7611FCB-5195-4A3D-AF90-B232EB5C2FEF}" type="sibTrans" cxnId="{843643EC-DE96-458A-8ED9-22CD9218AEAB}">
      <dgm:prSet/>
      <dgm:spPr/>
      <dgm:t>
        <a:bodyPr/>
        <a:lstStyle/>
        <a:p>
          <a:endParaRPr lang="en-US"/>
        </a:p>
      </dgm:t>
    </dgm:pt>
    <dgm:pt modelId="{947F34F3-4387-4CC9-9603-4597209826AB}">
      <dgm:prSet phldrT="[Text]"/>
      <dgm:spPr/>
      <dgm:t>
        <a:bodyPr/>
        <a:lstStyle/>
        <a:p>
          <a:r>
            <a:rPr lang="en-GB" dirty="0"/>
            <a:t>Prefer</a:t>
          </a:r>
          <a:endParaRPr lang="en-US" dirty="0"/>
        </a:p>
      </dgm:t>
    </dgm:pt>
    <dgm:pt modelId="{6E78F711-A650-4418-8C2F-E1FCE75E6841}" type="parTrans" cxnId="{F5FAF2AF-9DAA-4B25-B484-919C020399C7}">
      <dgm:prSet/>
      <dgm:spPr/>
      <dgm:t>
        <a:bodyPr/>
        <a:lstStyle/>
        <a:p>
          <a:endParaRPr lang="en-US"/>
        </a:p>
      </dgm:t>
    </dgm:pt>
    <dgm:pt modelId="{32974C9B-7B94-4BD3-A458-C0B85E9D15E4}" type="sibTrans" cxnId="{F5FAF2AF-9DAA-4B25-B484-919C020399C7}">
      <dgm:prSet/>
      <dgm:spPr/>
      <dgm:t>
        <a:bodyPr/>
        <a:lstStyle/>
        <a:p>
          <a:endParaRPr lang="en-US"/>
        </a:p>
      </dgm:t>
    </dgm:pt>
    <dgm:pt modelId="{2BFD5131-19A9-4D91-9B3F-F306923597CE}" type="pres">
      <dgm:prSet presAssocID="{4E6FAD0D-C92F-4AA3-B189-9D86B715004E}" presName="diagram" presStyleCnt="0">
        <dgm:presLayoutVars>
          <dgm:dir/>
          <dgm:resizeHandles val="exact"/>
        </dgm:presLayoutVars>
      </dgm:prSet>
      <dgm:spPr/>
    </dgm:pt>
    <dgm:pt modelId="{B3EE3888-ED8C-48D4-AF9C-F188E8729300}" type="pres">
      <dgm:prSet presAssocID="{4081090A-4EC7-4A6A-9DC2-A8322A335F87}" presName="arrow" presStyleLbl="node1" presStyleIdx="0" presStyleCnt="2" custScaleY="100114" custRadScaleRad="82769" custRadScaleInc="-169">
        <dgm:presLayoutVars>
          <dgm:bulletEnabled val="1"/>
        </dgm:presLayoutVars>
      </dgm:prSet>
      <dgm:spPr/>
    </dgm:pt>
    <dgm:pt modelId="{C2142191-7B0C-4C18-9C73-27B80AC5F19F}" type="pres">
      <dgm:prSet presAssocID="{947F34F3-4387-4CC9-9603-4597209826AB}" presName="arrow" presStyleLbl="node1" presStyleIdx="1" presStyleCnt="2" custScaleY="100229" custRadScaleRad="107429" custRadScaleInc="-38">
        <dgm:presLayoutVars>
          <dgm:bulletEnabled val="1"/>
        </dgm:presLayoutVars>
      </dgm:prSet>
      <dgm:spPr/>
    </dgm:pt>
  </dgm:ptLst>
  <dgm:cxnLst>
    <dgm:cxn modelId="{36EAA601-E8E5-4784-9D34-4BE988839115}" type="presOf" srcId="{4081090A-4EC7-4A6A-9DC2-A8322A335F87}" destId="{B3EE3888-ED8C-48D4-AF9C-F188E8729300}" srcOrd="0" destOrd="0" presId="urn:microsoft.com/office/officeart/2005/8/layout/arrow5"/>
    <dgm:cxn modelId="{03FACD57-D2D4-48FD-8592-DA96C9D69BC4}" type="presOf" srcId="{947F34F3-4387-4CC9-9603-4597209826AB}" destId="{C2142191-7B0C-4C18-9C73-27B80AC5F19F}" srcOrd="0" destOrd="0" presId="urn:microsoft.com/office/officeart/2005/8/layout/arrow5"/>
    <dgm:cxn modelId="{F5FAF2AF-9DAA-4B25-B484-919C020399C7}" srcId="{4E6FAD0D-C92F-4AA3-B189-9D86B715004E}" destId="{947F34F3-4387-4CC9-9603-4597209826AB}" srcOrd="1" destOrd="0" parTransId="{6E78F711-A650-4418-8C2F-E1FCE75E6841}" sibTransId="{32974C9B-7B94-4BD3-A458-C0B85E9D15E4}"/>
    <dgm:cxn modelId="{4841EBCA-F8F3-48A1-87F6-38E6058E8C24}" type="presOf" srcId="{4E6FAD0D-C92F-4AA3-B189-9D86B715004E}" destId="{2BFD5131-19A9-4D91-9B3F-F306923597CE}" srcOrd="0" destOrd="0" presId="urn:microsoft.com/office/officeart/2005/8/layout/arrow5"/>
    <dgm:cxn modelId="{843643EC-DE96-458A-8ED9-22CD9218AEAB}" srcId="{4E6FAD0D-C92F-4AA3-B189-9D86B715004E}" destId="{4081090A-4EC7-4A6A-9DC2-A8322A335F87}" srcOrd="0" destOrd="0" parTransId="{665E9CB0-4F35-4901-8E78-BA561B861225}" sibTransId="{A7611FCB-5195-4A3D-AF90-B232EB5C2FEF}"/>
    <dgm:cxn modelId="{8435B737-D1F0-43B9-8D61-1237E1917434}" type="presParOf" srcId="{2BFD5131-19A9-4D91-9B3F-F306923597CE}" destId="{B3EE3888-ED8C-48D4-AF9C-F188E8729300}" srcOrd="0" destOrd="0" presId="urn:microsoft.com/office/officeart/2005/8/layout/arrow5"/>
    <dgm:cxn modelId="{1B7A6CF1-AA2A-4C13-90BB-FBD3207EDAE2}" type="presParOf" srcId="{2BFD5131-19A9-4D91-9B3F-F306923597CE}" destId="{C2142191-7B0C-4C18-9C73-27B80AC5F19F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F1FC98-1C4E-4234-A6C3-08FAC5BA71AA}">
      <dsp:nvSpPr>
        <dsp:cNvPr id="0" name=""/>
        <dsp:cNvSpPr/>
      </dsp:nvSpPr>
      <dsp:spPr>
        <a:xfrm>
          <a:off x="1337153" y="4146682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C5B992-6715-4452-B2B5-038B11834844}">
      <dsp:nvSpPr>
        <dsp:cNvPr id="0" name=""/>
        <dsp:cNvSpPr/>
      </dsp:nvSpPr>
      <dsp:spPr>
        <a:xfrm>
          <a:off x="1253940" y="4184216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DCCA92-165F-43A3-93D1-0DBE67FEBB9D}">
      <dsp:nvSpPr>
        <dsp:cNvPr id="0" name=""/>
        <dsp:cNvSpPr/>
      </dsp:nvSpPr>
      <dsp:spPr>
        <a:xfrm>
          <a:off x="1169400" y="4216439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B1014B-9359-4728-8BA1-2EE92AAF29DC}">
      <dsp:nvSpPr>
        <dsp:cNvPr id="0" name=""/>
        <dsp:cNvSpPr/>
      </dsp:nvSpPr>
      <dsp:spPr>
        <a:xfrm>
          <a:off x="1083974" y="4243351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8ADDF1-EF80-4EE8-9A65-0608BCAA88DD}">
      <dsp:nvSpPr>
        <dsp:cNvPr id="0" name=""/>
        <dsp:cNvSpPr/>
      </dsp:nvSpPr>
      <dsp:spPr>
        <a:xfrm>
          <a:off x="997663" y="4264951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34E250-61A9-445E-9E80-E09E3D7C9595}">
      <dsp:nvSpPr>
        <dsp:cNvPr id="0" name=""/>
        <dsp:cNvSpPr/>
      </dsp:nvSpPr>
      <dsp:spPr>
        <a:xfrm>
          <a:off x="1859004" y="3761778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0583A1-5D55-4B3B-9496-C703D61F1FD9}">
      <dsp:nvSpPr>
        <dsp:cNvPr id="0" name=""/>
        <dsp:cNvSpPr/>
      </dsp:nvSpPr>
      <dsp:spPr>
        <a:xfrm>
          <a:off x="1787299" y="3832244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A4A48B-6CF2-4B75-9CB7-04B9DDF76B8A}">
      <dsp:nvSpPr>
        <dsp:cNvPr id="0" name=""/>
        <dsp:cNvSpPr/>
      </dsp:nvSpPr>
      <dsp:spPr>
        <a:xfrm>
          <a:off x="2190085" y="3326593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4ACA16-5995-4620-928A-65C51ED86CB4}">
      <dsp:nvSpPr>
        <dsp:cNvPr id="0" name=""/>
        <dsp:cNvSpPr/>
      </dsp:nvSpPr>
      <dsp:spPr>
        <a:xfrm>
          <a:off x="2426888" y="2832981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7FC2A2-E357-4F3D-B151-CC8B4115B003}">
      <dsp:nvSpPr>
        <dsp:cNvPr id="0" name=""/>
        <dsp:cNvSpPr/>
      </dsp:nvSpPr>
      <dsp:spPr>
        <a:xfrm>
          <a:off x="2572953" y="2321311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EAD0E6-9297-48FB-B5C3-EC712DA19D5E}">
      <dsp:nvSpPr>
        <dsp:cNvPr id="0" name=""/>
        <dsp:cNvSpPr/>
      </dsp:nvSpPr>
      <dsp:spPr>
        <a:xfrm>
          <a:off x="2640231" y="1817076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79E1FE-701B-48AD-A78D-EA2467C01292}">
      <dsp:nvSpPr>
        <dsp:cNvPr id="0" name=""/>
        <dsp:cNvSpPr/>
      </dsp:nvSpPr>
      <dsp:spPr>
        <a:xfrm>
          <a:off x="2540199" y="1157747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C2F9B4-26B2-4C48-A9A8-C98402C9C0FF}">
      <dsp:nvSpPr>
        <dsp:cNvPr id="0" name=""/>
        <dsp:cNvSpPr/>
      </dsp:nvSpPr>
      <dsp:spPr>
        <a:xfrm>
          <a:off x="2604822" y="1108173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B04F40-C347-4C46-99DB-CDB180EA699F}">
      <dsp:nvSpPr>
        <dsp:cNvPr id="0" name=""/>
        <dsp:cNvSpPr/>
      </dsp:nvSpPr>
      <dsp:spPr>
        <a:xfrm>
          <a:off x="2669444" y="1058954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F36A08-953A-4453-8D86-2B01BAA94C83}">
      <dsp:nvSpPr>
        <dsp:cNvPr id="0" name=""/>
        <dsp:cNvSpPr/>
      </dsp:nvSpPr>
      <dsp:spPr>
        <a:xfrm>
          <a:off x="2734067" y="1108173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EF936D-BCDF-4EA9-9A9F-499F035CFB21}">
      <dsp:nvSpPr>
        <dsp:cNvPr id="0" name=""/>
        <dsp:cNvSpPr/>
      </dsp:nvSpPr>
      <dsp:spPr>
        <a:xfrm>
          <a:off x="2799132" y="1157747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F72F4D-7928-424D-9FBF-F7A6AFDBE576}">
      <dsp:nvSpPr>
        <dsp:cNvPr id="0" name=""/>
        <dsp:cNvSpPr/>
      </dsp:nvSpPr>
      <dsp:spPr>
        <a:xfrm>
          <a:off x="2610133" y="1015598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15FFDD-3972-4A4F-AC40-574B0BA1B9EF}">
      <dsp:nvSpPr>
        <dsp:cNvPr id="0" name=""/>
        <dsp:cNvSpPr/>
      </dsp:nvSpPr>
      <dsp:spPr>
        <a:xfrm>
          <a:off x="2669444" y="1267517"/>
          <a:ext cx="42934" cy="42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DDAEC4-AB3C-4E8A-9751-36CE18EFA8CD}">
      <dsp:nvSpPr>
        <dsp:cNvPr id="0" name=""/>
        <dsp:cNvSpPr/>
      </dsp:nvSpPr>
      <dsp:spPr>
        <a:xfrm>
          <a:off x="779171" y="4350155"/>
          <a:ext cx="891113" cy="2492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/>
            <a:t>  CSD </a:t>
          </a:r>
          <a:endParaRPr lang="en-US" sz="1050" kern="1200" dirty="0"/>
        </a:p>
      </dsp:txBody>
      <dsp:txXfrm>
        <a:off x="791340" y="4362324"/>
        <a:ext cx="866775" cy="224946"/>
      </dsp:txXfrm>
    </dsp:sp>
    <dsp:sp modelId="{2A444632-DE31-4D53-A3B5-0B6B5338E5C1}">
      <dsp:nvSpPr>
        <dsp:cNvPr id="0" name=""/>
        <dsp:cNvSpPr/>
      </dsp:nvSpPr>
      <dsp:spPr>
        <a:xfrm>
          <a:off x="321504" y="3941974"/>
          <a:ext cx="691350" cy="711732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50800" dir="5400000" algn="ctr" rotWithShape="0">
            <a:schemeClr val="tx1"/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A301A2-A5BC-4B0E-8A0B-00FD78201C05}">
      <dsp:nvSpPr>
        <dsp:cNvPr id="0" name=""/>
        <dsp:cNvSpPr/>
      </dsp:nvSpPr>
      <dsp:spPr>
        <a:xfrm>
          <a:off x="1559320" y="4009853"/>
          <a:ext cx="1082710" cy="29251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/>
            <a:t>cakes</a:t>
          </a:r>
          <a:endParaRPr lang="en-US" sz="1050" kern="1200" dirty="0"/>
        </a:p>
      </dsp:txBody>
      <dsp:txXfrm>
        <a:off x="1573599" y="4024132"/>
        <a:ext cx="1054152" cy="263954"/>
      </dsp:txXfrm>
    </dsp:sp>
    <dsp:sp modelId="{B02EA3F5-AF86-4448-9B8C-E888E4D15BF3}">
      <dsp:nvSpPr>
        <dsp:cNvPr id="0" name=""/>
        <dsp:cNvSpPr/>
      </dsp:nvSpPr>
      <dsp:spPr>
        <a:xfrm>
          <a:off x="856687" y="3615327"/>
          <a:ext cx="716674" cy="716852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0" r="-3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F830E5-1E4E-4CD7-80F2-8A3EC23F56C4}">
      <dsp:nvSpPr>
        <dsp:cNvPr id="0" name=""/>
        <dsp:cNvSpPr/>
      </dsp:nvSpPr>
      <dsp:spPr>
        <a:xfrm>
          <a:off x="2067700" y="3597344"/>
          <a:ext cx="929947" cy="2492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/>
            <a:t>snacks</a:t>
          </a:r>
          <a:endParaRPr lang="en-US" sz="1050" kern="1200" dirty="0"/>
        </a:p>
      </dsp:txBody>
      <dsp:txXfrm>
        <a:off x="2079869" y="3609513"/>
        <a:ext cx="905609" cy="224946"/>
      </dsp:txXfrm>
    </dsp:sp>
    <dsp:sp modelId="{524E92C8-5687-4FEF-AC54-CF7488496D9C}">
      <dsp:nvSpPr>
        <dsp:cNvPr id="0" name=""/>
        <dsp:cNvSpPr/>
      </dsp:nvSpPr>
      <dsp:spPr>
        <a:xfrm>
          <a:off x="1343767" y="3139951"/>
          <a:ext cx="756970" cy="799772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9000" r="-5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E782A1-BD1B-41B5-92FD-9C6B2C7F5AF6}">
      <dsp:nvSpPr>
        <dsp:cNvPr id="0" name=""/>
        <dsp:cNvSpPr/>
      </dsp:nvSpPr>
      <dsp:spPr>
        <a:xfrm>
          <a:off x="2342568" y="3119313"/>
          <a:ext cx="929947" cy="2492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 err="1"/>
            <a:t>Kottu</a:t>
          </a:r>
          <a:endParaRPr lang="en-US" sz="1050" kern="1200" dirty="0"/>
        </a:p>
      </dsp:txBody>
      <dsp:txXfrm>
        <a:off x="2354737" y="3131482"/>
        <a:ext cx="905609" cy="224946"/>
      </dsp:txXfrm>
    </dsp:sp>
    <dsp:sp modelId="{CF117472-A3A3-4A0A-9753-499F841CD530}">
      <dsp:nvSpPr>
        <dsp:cNvPr id="0" name=""/>
        <dsp:cNvSpPr/>
      </dsp:nvSpPr>
      <dsp:spPr>
        <a:xfrm>
          <a:off x="1633550" y="2606799"/>
          <a:ext cx="807859" cy="856594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9000" r="-2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92E731-6F72-455E-A2DA-5D5F90F17A45}">
      <dsp:nvSpPr>
        <dsp:cNvPr id="0" name=""/>
        <dsp:cNvSpPr/>
      </dsp:nvSpPr>
      <dsp:spPr>
        <a:xfrm>
          <a:off x="2539092" y="2598689"/>
          <a:ext cx="929947" cy="27852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/>
            <a:t>Breads &amp; buns</a:t>
          </a:r>
          <a:endParaRPr lang="en-US" sz="1050" kern="1200" dirty="0"/>
        </a:p>
      </dsp:txBody>
      <dsp:txXfrm>
        <a:off x="2552688" y="2612285"/>
        <a:ext cx="902755" cy="251331"/>
      </dsp:txXfrm>
    </dsp:sp>
    <dsp:sp modelId="{32FE5DF4-7371-44BB-8231-020D9A7C9F1A}">
      <dsp:nvSpPr>
        <dsp:cNvPr id="0" name=""/>
        <dsp:cNvSpPr/>
      </dsp:nvSpPr>
      <dsp:spPr>
        <a:xfrm>
          <a:off x="1919422" y="2150562"/>
          <a:ext cx="782634" cy="777327"/>
        </a:xfrm>
        <a:prstGeom prst="ellipse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D017AE-4C4C-48F4-91BF-D2C3DCBCD921}">
      <dsp:nvSpPr>
        <dsp:cNvPr id="0" name=""/>
        <dsp:cNvSpPr/>
      </dsp:nvSpPr>
      <dsp:spPr>
        <a:xfrm>
          <a:off x="2782360" y="2116126"/>
          <a:ext cx="929947" cy="2492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/>
            <a:t> pizza</a:t>
          </a:r>
          <a:endParaRPr lang="en-US" sz="1050" kern="1200" dirty="0"/>
        </a:p>
      </dsp:txBody>
      <dsp:txXfrm>
        <a:off x="2794529" y="2128295"/>
        <a:ext cx="905609" cy="224946"/>
      </dsp:txXfrm>
    </dsp:sp>
    <dsp:sp modelId="{4EB73C31-ECB8-463C-8B72-6C59A673F95D}">
      <dsp:nvSpPr>
        <dsp:cNvPr id="0" name=""/>
        <dsp:cNvSpPr/>
      </dsp:nvSpPr>
      <dsp:spPr>
        <a:xfrm>
          <a:off x="2262316" y="1695522"/>
          <a:ext cx="692536" cy="768322"/>
        </a:xfrm>
        <a:prstGeom prst="ellipse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265B98-7CE3-4F3E-B0F9-F02B0E10838F}">
      <dsp:nvSpPr>
        <dsp:cNvPr id="0" name=""/>
        <dsp:cNvSpPr/>
      </dsp:nvSpPr>
      <dsp:spPr>
        <a:xfrm>
          <a:off x="2902215" y="1531889"/>
          <a:ext cx="929947" cy="41828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39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 dirty="0"/>
            <a:t>  burger and chips </a:t>
          </a:r>
          <a:endParaRPr lang="en-US" sz="1050" kern="1200" dirty="0"/>
        </a:p>
      </dsp:txBody>
      <dsp:txXfrm>
        <a:off x="2922634" y="1552308"/>
        <a:ext cx="889109" cy="377448"/>
      </dsp:txXfrm>
    </dsp:sp>
    <dsp:sp modelId="{AF12CECC-7BFB-40BD-A596-E7AB76644D44}">
      <dsp:nvSpPr>
        <dsp:cNvPr id="0" name=""/>
        <dsp:cNvSpPr/>
      </dsp:nvSpPr>
      <dsp:spPr>
        <a:xfrm>
          <a:off x="3641663" y="1625731"/>
          <a:ext cx="412965" cy="2492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27940" rIns="27940" bIns="27940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050" kern="1200"/>
        </a:p>
      </dsp:txBody>
      <dsp:txXfrm>
        <a:off x="3641663" y="1625731"/>
        <a:ext cx="412965" cy="249284"/>
      </dsp:txXfrm>
    </dsp:sp>
    <dsp:sp modelId="{30BF7839-3147-40C1-80C5-F91DAAA8F5CA}">
      <dsp:nvSpPr>
        <dsp:cNvPr id="0" name=""/>
        <dsp:cNvSpPr/>
      </dsp:nvSpPr>
      <dsp:spPr>
        <a:xfrm rot="21404656">
          <a:off x="2356720" y="1082663"/>
          <a:ext cx="748223" cy="751773"/>
        </a:xfrm>
        <a:prstGeom prst="ellipse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EE3888-ED8C-48D4-AF9C-F188E8729300}">
      <dsp:nvSpPr>
        <dsp:cNvPr id="0" name=""/>
        <dsp:cNvSpPr/>
      </dsp:nvSpPr>
      <dsp:spPr>
        <a:xfrm rot="16200000">
          <a:off x="155245" y="1645"/>
          <a:ext cx="908996" cy="910033"/>
        </a:xfrm>
        <a:prstGeom prst="downArrow">
          <a:avLst>
            <a:gd name="adj1" fmla="val 50000"/>
            <a:gd name="adj2" fmla="val 3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Behave </a:t>
          </a:r>
          <a:endParaRPr lang="en-US" sz="1400" kern="1200" dirty="0"/>
        </a:p>
      </dsp:txBody>
      <dsp:txXfrm rot="5400000">
        <a:off x="154727" y="229412"/>
        <a:ext cx="750959" cy="454498"/>
      </dsp:txXfrm>
    </dsp:sp>
    <dsp:sp modelId="{C2142191-7B0C-4C18-9C73-27B80AC5F19F}">
      <dsp:nvSpPr>
        <dsp:cNvPr id="0" name=""/>
        <dsp:cNvSpPr/>
      </dsp:nvSpPr>
      <dsp:spPr>
        <a:xfrm rot="5400000">
          <a:off x="1792002" y="-1040"/>
          <a:ext cx="908996" cy="911078"/>
        </a:xfrm>
        <a:prstGeom prst="downArrow">
          <a:avLst>
            <a:gd name="adj1" fmla="val 50000"/>
            <a:gd name="adj2" fmla="val 3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Prefer</a:t>
          </a:r>
          <a:endParaRPr lang="en-US" sz="1400" kern="1200" dirty="0"/>
        </a:p>
      </dsp:txBody>
      <dsp:txXfrm rot="-5400000">
        <a:off x="1950035" y="227250"/>
        <a:ext cx="752004" cy="4544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image" Target="../media/image5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>
              <a:defRPr/>
            </a:pPr>
            <a:fld id="{5E8B1180-5C59-4F7A-8BB3-6D395DE971F7}" type="datetimeFigureOut">
              <a:rPr lang="en-US"/>
              <a:pPr>
                <a:defRPr/>
              </a:pPr>
              <a:t>6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pPr>
              <a:defRPr/>
            </a:pPr>
            <a:fld id="{D863A7C2-2CAE-45CF-89DE-E436859501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7ABBBA8-873F-4B30-BCD4-B4C03D55F2AB}" type="datetimeFigureOut">
              <a:rPr lang="en-US"/>
              <a:pPr>
                <a:defRPr/>
              </a:pPr>
              <a:t>6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0DB486F-6408-465B-9183-55725ED20B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56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8025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8559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7812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7529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1639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503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899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793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637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1309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1737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342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278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DB486F-6408-465B-9183-55725ED20B9E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50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7.jpe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tags" Target="../tags/tag3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big balls main slide copy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gsk 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6237288"/>
            <a:ext cx="1195387" cy="41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2"/>
          <p:cNvSpPr txBox="1">
            <a:spLocks noChangeArrowheads="1"/>
          </p:cNvSpPr>
          <p:nvPr userDrawn="1"/>
        </p:nvSpPr>
        <p:spPr bwMode="auto">
          <a:xfrm>
            <a:off x="6705600" y="6537325"/>
            <a:ext cx="239681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GB" sz="1000" b="1" i="1" dirty="0">
                <a:solidFill>
                  <a:srgbClr val="5F5F5F"/>
                </a:solidFill>
                <a:latin typeface="+mn-lt"/>
              </a:rPr>
              <a:t>Sri</a:t>
            </a:r>
            <a:r>
              <a:rPr lang="en-GB" sz="1000" b="1" i="1" baseline="0" dirty="0">
                <a:solidFill>
                  <a:srgbClr val="5F5F5F"/>
                </a:solidFill>
                <a:latin typeface="+mn-lt"/>
              </a:rPr>
              <a:t> Lanka </a:t>
            </a:r>
            <a:r>
              <a:rPr lang="en-GB" sz="1000" b="1" i="1" dirty="0" err="1">
                <a:solidFill>
                  <a:srgbClr val="5F5F5F"/>
                </a:solidFill>
                <a:latin typeface="+mn-lt"/>
              </a:rPr>
              <a:t>Cx</a:t>
            </a:r>
            <a:r>
              <a:rPr lang="en-GB" sz="1000" b="1" i="1" dirty="0">
                <a:solidFill>
                  <a:srgbClr val="5F5F5F"/>
                </a:solidFill>
                <a:latin typeface="+mn-lt"/>
              </a:rPr>
              <a:t> Project  Management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572000" y="2924175"/>
            <a:ext cx="4030663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581525"/>
            <a:ext cx="4064000" cy="1752600"/>
          </a:xfrm>
        </p:spPr>
        <p:txBody>
          <a:bodyPr/>
          <a:lstStyle>
            <a:lvl1pPr marL="0" indent="0">
              <a:buFont typeface="Monotype Sorts" pitchFamily="2" charset="2"/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94513" y="476250"/>
            <a:ext cx="1709737" cy="5689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63713" y="476250"/>
            <a:ext cx="4978400" cy="5689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3713" y="476250"/>
            <a:ext cx="684053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63713" y="1773238"/>
            <a:ext cx="6840537" cy="4392612"/>
          </a:xfrm>
        </p:spPr>
        <p:txBody>
          <a:bodyPr/>
          <a:lstStyle/>
          <a:p>
            <a:pPr lvl="0"/>
            <a:endParaRPr lang="en-US" noProof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1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ltGray">
          <a:xfrm>
            <a:off x="0" y="9525"/>
            <a:ext cx="9144000" cy="68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1775" y="187325"/>
            <a:ext cx="88106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169">
              <a:defRPr/>
            </a:pPr>
            <a:r>
              <a:rPr lang="en-GB" sz="800" b="1" dirty="0">
                <a:solidFill>
                  <a:srgbClr val="000066"/>
                </a:solidFill>
                <a:latin typeface="Arial" charset="0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31775" y="346075"/>
            <a:ext cx="25542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169">
              <a:defRPr/>
            </a:pPr>
            <a:r>
              <a:rPr lang="en-US" sz="800" dirty="0">
                <a:solidFill>
                  <a:srgbClr val="000066"/>
                </a:solidFill>
                <a:latin typeface="Arial" charset="0"/>
              </a:rPr>
              <a:t>Last Modified 23/09/2011 13:36:35 India Standard Time</a:t>
            </a:r>
            <a:endParaRPr lang="en-GB" sz="800" dirty="0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31775" y="508000"/>
            <a:ext cx="22669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169">
              <a:defRPr/>
            </a:pPr>
            <a:r>
              <a:rPr lang="en-US" sz="800" dirty="0">
                <a:solidFill>
                  <a:srgbClr val="000066"/>
                </a:solidFill>
                <a:latin typeface="Arial" charset="0"/>
              </a:rPr>
              <a:t>Printed 20/09/2011 08:37:04 India Standard Time</a:t>
            </a:r>
            <a:endParaRPr lang="en-GB" sz="800" dirty="0">
              <a:solidFill>
                <a:srgbClr val="000066"/>
              </a:solidFill>
              <a:latin typeface="Arial" charset="0"/>
            </a:endParaRPr>
          </a:p>
        </p:txBody>
      </p:sp>
      <p:grpSp>
        <p:nvGrpSpPr>
          <p:cNvPr id="9" name="McK Title Elements"/>
          <p:cNvGrpSpPr>
            <a:grpSpLocks/>
          </p:cNvGrpSpPr>
          <p:nvPr userDrawn="1"/>
        </p:nvGrpSpPr>
        <p:grpSpPr bwMode="auto">
          <a:xfrm>
            <a:off x="2693988" y="6029325"/>
            <a:ext cx="5035550" cy="485775"/>
            <a:chOff x="1697" y="3798"/>
            <a:chExt cx="3172" cy="306"/>
          </a:xfrm>
        </p:grpSpPr>
        <p:sp>
          <p:nvSpPr>
            <p:cNvPr id="10" name="McK Document type" hidden="1"/>
            <p:cNvSpPr txBox="1">
              <a:spLocks noChangeArrowheads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1697" y="3798"/>
              <a:ext cx="317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33169">
                <a:defRPr/>
              </a:pPr>
              <a:r>
                <a:rPr lang="en-GB" sz="1400" dirty="0">
                  <a:solidFill>
                    <a:srgbClr val="000066"/>
                  </a:solidFill>
                  <a:latin typeface="Arial" charset="0"/>
                </a:rPr>
                <a:t>Document type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>
              <a:off x="1697" y="3968"/>
              <a:ext cx="317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33169">
                <a:defRPr/>
              </a:pPr>
              <a:r>
                <a:rPr lang="en-GB" sz="1400" dirty="0">
                  <a:solidFill>
                    <a:srgbClr val="000066"/>
                  </a:solidFill>
                  <a:latin typeface="Arial" charset="0"/>
                </a:rPr>
                <a:t>Date</a:t>
              </a:r>
            </a:p>
          </p:txBody>
        </p:sp>
      </p:grpSp>
      <p:sp>
        <p:nvSpPr>
          <p:cNvPr id="12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47063" y="34925"/>
            <a:ext cx="669925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buClr>
                <a:srgbClr val="000080"/>
              </a:buClr>
              <a:buSzPct val="125000"/>
              <a:buFont typeface="Arial" charset="0"/>
              <a:buChar char="▪"/>
              <a:defRPr/>
            </a:pPr>
            <a:endParaRPr lang="en-US" sz="1300" b="1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14848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693522" y="1249074"/>
            <a:ext cx="6104465" cy="52322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GB"/>
              <a:t>Cx/Rx collaboration</a:t>
            </a:r>
          </a:p>
        </p:txBody>
      </p:sp>
      <p:sp>
        <p:nvSpPr>
          <p:cNvPr id="14848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2693522" y="5161355"/>
            <a:ext cx="6104465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GB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6118CA-9F44-4156-9ED2-506F444C3C7D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7469"/>
            <a:ext cx="7772637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4099692"/>
            <a:ext cx="7772637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64" indent="0">
              <a:buNone/>
              <a:defRPr sz="1800"/>
            </a:lvl2pPr>
            <a:lvl3pPr marL="914125" indent="0">
              <a:buNone/>
              <a:defRPr sz="1600"/>
            </a:lvl3pPr>
            <a:lvl4pPr marL="1371189" indent="0">
              <a:buNone/>
              <a:defRPr sz="1400"/>
            </a:lvl4pPr>
            <a:lvl5pPr marL="1828251" indent="0">
              <a:buNone/>
              <a:defRPr sz="1400"/>
            </a:lvl5pPr>
            <a:lvl6pPr marL="2285315" indent="0">
              <a:buNone/>
              <a:defRPr sz="1400"/>
            </a:lvl6pPr>
            <a:lvl7pPr marL="2742376" indent="0">
              <a:buNone/>
              <a:defRPr sz="1400"/>
            </a:lvl7pPr>
            <a:lvl8pPr marL="3199440" indent="0">
              <a:buNone/>
              <a:defRPr sz="1400"/>
            </a:lvl8pPr>
            <a:lvl9pPr marL="3656503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9D6BC-60A0-412E-9EB3-23C0B428A5BE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2789" y="1788699"/>
            <a:ext cx="2117357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12518" y="1788699"/>
            <a:ext cx="2118944" cy="25237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C38993-95BB-4E27-86EC-1137F01BD0C1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21" y="274576"/>
            <a:ext cx="8229759" cy="32316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21" y="1435708"/>
            <a:ext cx="4039486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64" indent="0">
              <a:buNone/>
              <a:defRPr sz="2000" b="1"/>
            </a:lvl2pPr>
            <a:lvl3pPr marL="914125" indent="0">
              <a:buNone/>
              <a:defRPr sz="1800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5" indent="0">
              <a:buNone/>
              <a:defRPr sz="1600" b="1"/>
            </a:lvl6pPr>
            <a:lvl7pPr marL="2742376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21" y="2174372"/>
            <a:ext cx="4039486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808" y="1435708"/>
            <a:ext cx="404107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64" indent="0">
              <a:buNone/>
              <a:defRPr sz="2000" b="1"/>
            </a:lvl2pPr>
            <a:lvl3pPr marL="914125" indent="0">
              <a:buNone/>
              <a:defRPr sz="1800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5" indent="0">
              <a:buNone/>
              <a:defRPr sz="1600" b="1"/>
            </a:lvl6pPr>
            <a:lvl7pPr marL="2742376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808" y="2174372"/>
            <a:ext cx="404107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4810FF-5493-4584-A949-7FB591128B5F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8C815-CAAC-4B0C-BB4E-40AC6BE93A1C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ED0E38-57F6-482A-83F2-E738F0ED5F4E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22" y="819216"/>
            <a:ext cx="3007791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429" y="272988"/>
            <a:ext cx="51124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22" y="1434768"/>
            <a:ext cx="3007791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064" indent="0">
              <a:buNone/>
              <a:defRPr sz="1200"/>
            </a:lvl2pPr>
            <a:lvl3pPr marL="914125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5" indent="0">
              <a:buNone/>
              <a:defRPr sz="900"/>
            </a:lvl6pPr>
            <a:lvl7pPr marL="2742376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449BC-5223-43C5-A195-FC6AAC9F8A57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977" y="5059906"/>
            <a:ext cx="5487034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977" y="612634"/>
            <a:ext cx="5487034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064" indent="0">
              <a:buNone/>
              <a:defRPr sz="2800"/>
            </a:lvl2pPr>
            <a:lvl3pPr marL="914125" indent="0">
              <a:buNone/>
              <a:defRPr sz="2400"/>
            </a:lvl3pPr>
            <a:lvl4pPr marL="1371189" indent="0">
              <a:buNone/>
              <a:defRPr sz="2000"/>
            </a:lvl4pPr>
            <a:lvl5pPr marL="1828251" indent="0">
              <a:buNone/>
              <a:defRPr sz="2000"/>
            </a:lvl5pPr>
            <a:lvl6pPr marL="2285315" indent="0">
              <a:buNone/>
              <a:defRPr sz="2000"/>
            </a:lvl6pPr>
            <a:lvl7pPr marL="2742376" indent="0">
              <a:buNone/>
              <a:defRPr sz="2000"/>
            </a:lvl7pPr>
            <a:lvl8pPr marL="3199440" indent="0">
              <a:buNone/>
              <a:defRPr sz="2000"/>
            </a:lvl8pPr>
            <a:lvl9pPr marL="3656503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977" y="5367682"/>
            <a:ext cx="548703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064" indent="0">
              <a:buNone/>
              <a:defRPr sz="1200"/>
            </a:lvl2pPr>
            <a:lvl3pPr marL="914125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5" indent="0">
              <a:buNone/>
              <a:defRPr sz="900"/>
            </a:lvl6pPr>
            <a:lvl7pPr marL="2742376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2713B-D153-4545-AF77-2EF456456D1B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23029" y="1788699"/>
            <a:ext cx="2708434" cy="122209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35F776-1083-4F82-ADDF-CF7A0DBA8EB1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00888" y="234897"/>
            <a:ext cx="646331" cy="277589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833679" y="234897"/>
            <a:ext cx="1231106" cy="277589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70933-EDCA-445F-8245-F7A64E796A23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58775" indent="-358775">
              <a:spcBef>
                <a:spcPts val="1800"/>
              </a:spcBef>
              <a:buClr>
                <a:schemeClr val="bg2"/>
              </a:buClr>
              <a:buFont typeface="+mj-lt"/>
              <a:buAutoNum type="arabicPeriod"/>
              <a:defRPr sz="1800" b="0"/>
            </a:lvl1pPr>
            <a:lvl2pPr marL="701675" indent="-342900">
              <a:buFont typeface="+mj-lt"/>
              <a:buAutoNum type="arabicPeriod"/>
              <a:defRPr sz="1800"/>
            </a:lvl2pPr>
            <a:lvl3pPr marL="1060450" indent="-342900">
              <a:buFont typeface="+mj-lt"/>
              <a:buAutoNum type="arabicPeriod"/>
              <a:defRPr sz="1600"/>
            </a:lvl3pPr>
            <a:lvl4pPr marL="1419225" indent="-342900">
              <a:buFont typeface="+mj-lt"/>
              <a:buAutoNum type="arabicPeriod"/>
              <a:defRPr sz="1600"/>
            </a:lvl4pPr>
            <a:lvl5pPr marL="1778000" indent="-342900">
              <a:buFont typeface="+mj-lt"/>
              <a:buAutoNum type="arabicPeriod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77374" y="6476208"/>
            <a:ext cx="288032" cy="365125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57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63440" y="6476208"/>
            <a:ext cx="109406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327EEBA-7B08-469C-9E64-E3372277D37A}" type="datetime1">
              <a:rPr lang="en-US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6/6/2018</a:t>
            </a:fld>
            <a:endParaRPr lang="en-GB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8" y="6476208"/>
            <a:ext cx="136815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>
                <a:solidFill>
                  <a:prstClr val="black"/>
                </a:solidFill>
                <a:latin typeface="Arial"/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2746286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Red Bod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1800"/>
              </a:lnSpc>
              <a:defRPr sz="1500"/>
            </a:lvl1pPr>
            <a:lvl2pPr>
              <a:lnSpc>
                <a:spcPts val="1800"/>
              </a:lnSpc>
              <a:defRPr sz="1500"/>
            </a:lvl2pPr>
            <a:lvl3pPr>
              <a:lnSpc>
                <a:spcPts val="1800"/>
              </a:lnSpc>
              <a:buClr>
                <a:schemeClr val="accent4"/>
              </a:buClr>
              <a:defRPr sz="1500"/>
            </a:lvl3pPr>
            <a:lvl4pPr>
              <a:lnSpc>
                <a:spcPts val="1800"/>
              </a:lnSpc>
              <a:buClr>
                <a:schemeClr val="accent4"/>
              </a:buClr>
              <a:defRPr sz="1500"/>
            </a:lvl4pPr>
            <a:lvl5pPr>
              <a:lnSpc>
                <a:spcPts val="1800"/>
              </a:lnSpc>
              <a:buClr>
                <a:schemeClr val="accent4"/>
              </a:buCl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63440" y="6476208"/>
            <a:ext cx="2737123" cy="365125"/>
          </a:xfrm>
          <a:prstGeom prst="rect">
            <a:avLst/>
          </a:prstGeom>
        </p:spPr>
        <p:txBody>
          <a:bodyPr/>
          <a:lstStyle/>
          <a:p>
            <a:fld id="{81A2ECA0-0E08-4092-8682-8C6519EC00B7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95288" y="6476208"/>
            <a:ext cx="1368152" cy="365125"/>
          </a:xfrm>
          <a:prstGeom prst="rect">
            <a:avLst/>
          </a:prstGeom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21450" y="720000"/>
            <a:ext cx="864000" cy="864000"/>
          </a:xfrm>
        </p:spPr>
        <p:txBody>
          <a:bodyPr/>
          <a:lstStyle>
            <a:lvl1pPr>
              <a:lnSpc>
                <a:spcPts val="11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0" y="2330450"/>
            <a:ext cx="9144000" cy="37147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0988" tIns="40494" rIns="80988" bIns="40494" anchor="ctr"/>
          <a:lstStyle/>
          <a:p>
            <a:pPr>
              <a:defRPr/>
            </a:pPr>
            <a:endParaRPr lang="en-GB" sz="2500" b="1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29050" y="279400"/>
            <a:ext cx="4995863" cy="186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7780" y="2933405"/>
            <a:ext cx="7771396" cy="1470422"/>
          </a:xfrm>
        </p:spPr>
        <p:txBody>
          <a:bodyPr/>
          <a:lstStyle>
            <a:lvl1pPr algn="r">
              <a:defRPr sz="43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4605" y="4394897"/>
            <a:ext cx="7697745" cy="748605"/>
          </a:xfrm>
        </p:spPr>
        <p:txBody>
          <a:bodyPr/>
          <a:lstStyle>
            <a:lvl1pPr marL="0" indent="0" algn="r">
              <a:buNone/>
              <a:defRPr sz="3200">
                <a:solidFill>
                  <a:schemeClr val="bg1"/>
                </a:solidFill>
              </a:defRPr>
            </a:lvl1pPr>
            <a:lvl2pPr marL="404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9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14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1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24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29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34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39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5" y="1725613"/>
            <a:ext cx="7507288" cy="280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988" tIns="40494" rIns="80988" bIns="40494" anchor="ctr"/>
          <a:lstStyle/>
          <a:p>
            <a:pPr algn="ctr">
              <a:defRPr/>
            </a:pPr>
            <a:endParaRPr lang="en-GB" sz="2500" b="1" dirty="0">
              <a:solidFill>
                <a:srgbClr val="FFFFFF"/>
              </a:solidFill>
              <a:latin typeface="Arial Unicode MS" pitchFamily="34" charset="-128"/>
            </a:endParaRPr>
          </a:p>
        </p:txBody>
      </p:sp>
      <p:pic>
        <p:nvPicPr>
          <p:cNvPr id="3" name="Picture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675" y="1725613"/>
            <a:ext cx="7507288" cy="280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2325" y="6126163"/>
            <a:ext cx="1652588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1044" y="1313465"/>
            <a:ext cx="4381174" cy="47319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22219" y="1339454"/>
            <a:ext cx="4201509" cy="47059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2325" y="6126163"/>
            <a:ext cx="1652588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1044" y="1313465"/>
            <a:ext cx="4381174" cy="47319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22219" y="1339454"/>
            <a:ext cx="4201509" cy="47059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0" y="1062038"/>
            <a:ext cx="9144000" cy="579596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0988" tIns="40494" rIns="80988" bIns="40494" anchor="ctr"/>
          <a:lstStyle/>
          <a:p>
            <a:pPr>
              <a:defRPr/>
            </a:pPr>
            <a:endParaRPr lang="en-GB" sz="2500" b="1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8824913" y="7526338"/>
            <a:ext cx="333375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defTabSz="808478">
              <a:defRPr/>
            </a:pPr>
            <a:r>
              <a:rPr lang="en-GB" sz="1500" dirty="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t>  </a:t>
            </a:r>
            <a:fld id="{D64515D9-48F1-4180-BC76-46BB914BF6A9}" type="slidenum">
              <a:rPr lang="en-GB" sz="15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pPr defTabSz="808478">
                <a:defRPr/>
              </a:pPr>
              <a:t>‹#›</a:t>
            </a:fld>
            <a:endParaRPr lang="en-GB" sz="1500" dirty="0">
              <a:solidFill>
                <a:srgbClr val="FFFFFF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239927" y="1285877"/>
            <a:ext cx="8583799" cy="47595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0" y="1062038"/>
            <a:ext cx="9144000" cy="579596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0988" tIns="40494" rIns="80988" bIns="40494" anchor="ctr"/>
          <a:lstStyle/>
          <a:p>
            <a:pPr>
              <a:defRPr/>
            </a:pPr>
            <a:endParaRPr lang="en-GB" sz="2500" b="1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8824913" y="7526338"/>
            <a:ext cx="333375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defTabSz="808478">
              <a:defRPr/>
            </a:pPr>
            <a:r>
              <a:rPr lang="en-GB" sz="1500" dirty="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t>  </a:t>
            </a:r>
            <a:fld id="{702E5134-C974-4F13-8D15-B3E272A219B7}" type="slidenum">
              <a:rPr lang="en-GB" sz="15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pPr defTabSz="808478">
                <a:defRPr/>
              </a:pPr>
              <a:t>‹#›</a:t>
            </a:fld>
            <a:endParaRPr lang="en-GB" sz="1500" dirty="0">
              <a:solidFill>
                <a:srgbClr val="FFFFFF"/>
              </a:solidFill>
              <a:latin typeface="Calibri" pitchFamily="34" charset="0"/>
              <a:ea typeface="Arial Unicode MS" pitchFamily="34" charset="-128"/>
            </a:endParaRPr>
          </a:p>
        </p:txBody>
      </p:sp>
      <p:pic>
        <p:nvPicPr>
          <p:cNvPr id="6" name="Picture 2" descr="Project BLUEPRINT 2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8838" y="6126163"/>
            <a:ext cx="1793875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239927" y="1285877"/>
            <a:ext cx="8583799" cy="47595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/>
          <p:cNvSpPr>
            <a:spLocks noChangeArrowheads="1"/>
          </p:cNvSpPr>
          <p:nvPr userDrawn="1"/>
        </p:nvSpPr>
        <p:spPr bwMode="auto">
          <a:xfrm>
            <a:off x="0" y="1062038"/>
            <a:ext cx="9144000" cy="579596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0988" tIns="40494" rIns="80988" bIns="40494" anchor="ctr"/>
          <a:lstStyle/>
          <a:p>
            <a:pPr>
              <a:defRPr/>
            </a:pPr>
            <a:endParaRPr lang="en-GB" sz="2500" b="1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8824913" y="7526338"/>
            <a:ext cx="333375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defTabSz="808478">
              <a:defRPr/>
            </a:pPr>
            <a:r>
              <a:rPr lang="en-GB" sz="1500" dirty="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t>  </a:t>
            </a:r>
            <a:fld id="{F19CA83C-0044-4983-B361-55245C4706BE}" type="slidenum">
              <a:rPr lang="en-GB" sz="15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pPr defTabSz="808478">
                <a:defRPr/>
              </a:pPr>
              <a:t>‹#›</a:t>
            </a:fld>
            <a:endParaRPr lang="en-GB" sz="1500" dirty="0">
              <a:solidFill>
                <a:srgbClr val="FFFFFF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4622218" y="1285877"/>
            <a:ext cx="4239450" cy="47595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39928" y="1285877"/>
            <a:ext cx="4337653" cy="47595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"/>
          <p:cNvSpPr>
            <a:spLocks noChangeArrowheads="1"/>
          </p:cNvSpPr>
          <p:nvPr userDrawn="1"/>
        </p:nvSpPr>
        <p:spPr bwMode="auto">
          <a:xfrm>
            <a:off x="0" y="1062038"/>
            <a:ext cx="9144000" cy="579596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0988" tIns="40494" rIns="80988" bIns="40494" anchor="ctr"/>
          <a:lstStyle/>
          <a:p>
            <a:pPr>
              <a:defRPr/>
            </a:pPr>
            <a:endParaRPr lang="en-GB" sz="2500" b="1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8824913" y="7526338"/>
            <a:ext cx="333375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defTabSz="808478">
              <a:defRPr/>
            </a:pPr>
            <a:r>
              <a:rPr lang="en-GB" sz="1500" dirty="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t>  </a:t>
            </a:r>
            <a:fld id="{B9055168-C772-467C-AC87-017F1466724D}" type="slidenum">
              <a:rPr lang="en-GB" sz="15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</a:rPr>
              <a:pPr defTabSz="808478">
                <a:defRPr/>
              </a:pPr>
              <a:t>‹#›</a:t>
            </a:fld>
            <a:endParaRPr lang="en-GB" sz="1500" dirty="0">
              <a:solidFill>
                <a:srgbClr val="FFFFFF"/>
              </a:solidFill>
              <a:latin typeface="Calibri" pitchFamily="34" charset="0"/>
              <a:ea typeface="Arial Unicode MS" pitchFamily="34" charset="-128"/>
            </a:endParaRPr>
          </a:p>
        </p:txBody>
      </p:sp>
      <p:pic>
        <p:nvPicPr>
          <p:cNvPr id="8" name="Picture 2" descr="Project BLUEPRINT 2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8838" y="6126163"/>
            <a:ext cx="1793875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4622218" y="1285877"/>
            <a:ext cx="4239450" cy="47595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39928" y="1285877"/>
            <a:ext cx="4337653" cy="47595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/>
          <p:cNvSpPr>
            <a:spLocks noChangeArrowheads="1"/>
          </p:cNvSpPr>
          <p:nvPr userDrawn="1"/>
        </p:nvSpPr>
        <p:spPr bwMode="auto">
          <a:xfrm>
            <a:off x="0" y="0"/>
            <a:ext cx="9144000" cy="273208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0988" tIns="40494" rIns="80988" bIns="40494" anchor="ctr"/>
          <a:lstStyle/>
          <a:p>
            <a:pPr>
              <a:defRPr/>
            </a:pPr>
            <a:endParaRPr lang="en-GB" sz="2500" b="1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3613" y="4264025"/>
            <a:ext cx="5321300" cy="198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530" y="2968788"/>
            <a:ext cx="8564196" cy="857250"/>
          </a:xfr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Project BLUEPRINT 2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8838" y="6126163"/>
            <a:ext cx="1793875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63713" y="1773238"/>
            <a:ext cx="3343275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9388" y="1773238"/>
            <a:ext cx="3344862" cy="4392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2325" y="6126163"/>
            <a:ext cx="1652588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740" y="92547"/>
            <a:ext cx="8575987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Aqua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738" y="2484000"/>
            <a:ext cx="4860000" cy="1089463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6738" y="3751200"/>
            <a:ext cx="4860000" cy="17526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None/>
              <a:defRPr lang="en-GB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86446" y="0"/>
            <a:ext cx="15716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4E40DB-3D59-472F-88F1-E187BED702B5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84000" y="0"/>
            <a:ext cx="2895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4217" y="0"/>
            <a:ext cx="2190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0B365-32CF-4260-A678-325987727875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2050" name="Picture 2" descr="S:\Clients\Radley Yeldar\GSK\Working\GSK Logo 65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4000" y="576000"/>
            <a:ext cx="2341563" cy="857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Oran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738" y="2484000"/>
            <a:ext cx="4860000" cy="1089463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lang="en-GB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6738" y="3751200"/>
            <a:ext cx="4860000" cy="17526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None/>
              <a:defRPr lang="en-GB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786446" y="0"/>
            <a:ext cx="15716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616413-EEDB-4ED5-BC31-A44A272B33A7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84000" y="0"/>
            <a:ext cx="2895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4217" y="0"/>
            <a:ext cx="21904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0B365-32CF-4260-A678-325987727875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2050" name="Picture 2" descr="S:\Clients\Radley Yeldar\GSK\Working\GSK Logo 65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4000" y="576000"/>
            <a:ext cx="2341563" cy="85725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738" y="684000"/>
            <a:ext cx="7410450" cy="864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3400"/>
              </a:lnSpc>
              <a:spcBef>
                <a:spcPct val="0"/>
              </a:spcBef>
              <a:buFont typeface="Arial" pitchFamily="34" charset="0"/>
              <a:buNone/>
              <a:defRPr lang="en-GB" sz="3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6738" y="1908000"/>
            <a:ext cx="5157787" cy="115252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1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10390-E9E4-4FC4-B96F-47442FCB7490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737" y="720000"/>
            <a:ext cx="7248526" cy="72117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6737" y="1908001"/>
            <a:ext cx="7248526" cy="4383262"/>
          </a:xfrm>
        </p:spPr>
        <p:txBody>
          <a:bodyPr/>
          <a:lstStyle>
            <a:lvl1pPr>
              <a:buFont typeface="Wingdings" pitchFamily="2" charset="2"/>
              <a:buChar char="q"/>
              <a:defRPr/>
            </a:lvl1pPr>
            <a:lvl2pPr marL="228600" indent="0">
              <a:buFont typeface="Wingdings" pitchFamily="2" charset="2"/>
              <a:buChar char="ü"/>
              <a:defRPr/>
            </a:lvl2pPr>
            <a:lvl3pPr marL="514350" indent="0">
              <a:defRPr/>
            </a:lvl3pPr>
            <a:lvl4pPr marL="800100" indent="0">
              <a:defRPr/>
            </a:lvl4pPr>
            <a:lvl5pPr marL="1028700" indent="0">
              <a:defRPr sz="1600"/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 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 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ACCCD-03DC-423F-B2E8-7DB258DF64F4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Lim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ACCCD-03DC-423F-B2E8-7DB258DF64F4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0p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737" y="684000"/>
            <a:ext cx="6834187" cy="865186"/>
          </a:xfrm>
        </p:spPr>
        <p:txBody>
          <a:bodyPr/>
          <a:lstStyle>
            <a:lvl1pPr>
              <a:lnSpc>
                <a:spcPts val="3400"/>
              </a:lnSpc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7" y="1822271"/>
            <a:ext cx="6834187" cy="45642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568CD-A268-4D05-B49D-6D41BA999BD5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868D7-6F5E-4C01-9812-9EB8776B76D0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13EB40-C2A1-422E-BDBE-7CC4A99132C6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prstClr val="white"/>
                </a:solidFill>
              </a:rPr>
              <a:t>[Update footer with Insert &gt; Header &amp; Footer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7C0B365-32CF-4260-A678-325987727875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white"/>
                </a:solidFill>
                <a:latin typeface="Arial"/>
              </a:rPr>
              <a:t>Page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66738" y="1908000"/>
            <a:ext cx="3168000" cy="3807000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1000"/>
              </a:spcBef>
              <a:buNone/>
              <a:defRPr sz="1600"/>
            </a:lvl1pPr>
            <a:lvl2pPr marL="4763" indent="0">
              <a:lnSpc>
                <a:spcPts val="2000"/>
              </a:lnSpc>
              <a:spcBef>
                <a:spcPts val="1000"/>
              </a:spcBef>
              <a:buNone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54F88D-9728-4572-8C18-852ED0489FBD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3978275" y="2276475"/>
            <a:ext cx="4572000" cy="3433762"/>
          </a:xfrm>
          <a:solidFill>
            <a:schemeClr val="bg1"/>
          </a:solidFill>
          <a:ln w="1270">
            <a:solidFill>
              <a:schemeClr val="bg2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1200"/>
              </a:spcBef>
              <a:buClr>
                <a:schemeClr val="tx2"/>
              </a:buClr>
              <a:buFont typeface="Arial" pitchFamily="34" charset="0"/>
              <a:buNone/>
              <a:defRPr lang="en-GB" sz="15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66737" y="720000"/>
            <a:ext cx="6834187" cy="721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9" y="1907999"/>
            <a:ext cx="6259512" cy="4383263"/>
          </a:xfrm>
        </p:spPr>
        <p:txBody>
          <a:bodyPr numCol="2" spcCol="234000"/>
          <a:lstStyle>
            <a:lvl1pPr>
              <a:lnSpc>
                <a:spcPts val="1300"/>
              </a:lnSpc>
              <a:spcBef>
                <a:spcPts val="650"/>
              </a:spcBef>
              <a:defRPr sz="1100"/>
            </a:lvl1pPr>
            <a:lvl2pPr>
              <a:lnSpc>
                <a:spcPts val="1300"/>
              </a:lnSpc>
              <a:spcBef>
                <a:spcPts val="650"/>
              </a:spcBef>
              <a:defRPr sz="1100"/>
            </a:lvl2pPr>
            <a:lvl3pPr>
              <a:lnSpc>
                <a:spcPts val="1300"/>
              </a:lnSpc>
              <a:spcBef>
                <a:spcPts val="650"/>
              </a:spcBef>
              <a:buClr>
                <a:schemeClr val="tx2"/>
              </a:buClr>
              <a:defRPr sz="1100"/>
            </a:lvl3pPr>
            <a:lvl4pPr>
              <a:lnSpc>
                <a:spcPts val="1300"/>
              </a:lnSpc>
              <a:spcBef>
                <a:spcPts val="650"/>
              </a:spcBef>
              <a:buClr>
                <a:schemeClr val="tx2"/>
              </a:buClr>
              <a:defRPr sz="1100"/>
            </a:lvl4pPr>
            <a:lvl5pPr>
              <a:lnSpc>
                <a:spcPts val="1300"/>
              </a:lnSpc>
              <a:spcBef>
                <a:spcPts val="650"/>
              </a:spcBef>
              <a:buClr>
                <a:schemeClr val="tx2"/>
              </a:buCl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671BB-6D6B-44D9-9CD1-CE9EE7622A54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range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1854000"/>
            <a:ext cx="3240000" cy="864000"/>
          </a:xfrm>
        </p:spPr>
        <p:txBody>
          <a:bodyPr/>
          <a:lstStyle>
            <a:lvl1pPr>
              <a:lnSpc>
                <a:spcPts val="34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F8FF0C-A2DD-4E30-A746-827EF6E49F8E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719138" y="2852738"/>
            <a:ext cx="3240000" cy="115252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2" descr="S:\Clients\Radley Yeldar\GSK\Working\GSK Logo 43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6738" y="576000"/>
            <a:ext cx="1557338" cy="569913"/>
          </a:xfrm>
          <a:prstGeom prst="rect">
            <a:avLst/>
          </a:prstGeom>
          <a:noFill/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Page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range Bod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1800"/>
              </a:lnSpc>
              <a:defRPr sz="1500"/>
            </a:lvl1pPr>
            <a:lvl2pPr>
              <a:lnSpc>
                <a:spcPts val="1800"/>
              </a:lnSpc>
              <a:defRPr sz="1500"/>
            </a:lvl2pPr>
            <a:lvl3pPr>
              <a:lnSpc>
                <a:spcPts val="1800"/>
              </a:lnSpc>
              <a:defRPr sz="1500"/>
            </a:lvl3pPr>
            <a:lvl4pPr>
              <a:lnSpc>
                <a:spcPts val="1800"/>
              </a:lnSpc>
              <a:defRPr sz="1500"/>
            </a:lvl4pPr>
            <a:lvl5pPr>
              <a:lnSpc>
                <a:spcPts val="1800"/>
              </a:lnSpc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06C30-8B6F-4633-9957-37D9D6709DDE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21450" y="720000"/>
            <a:ext cx="864000" cy="864000"/>
          </a:xfrm>
        </p:spPr>
        <p:txBody>
          <a:bodyPr/>
          <a:lstStyle>
            <a:lvl1pPr>
              <a:lnSpc>
                <a:spcPts val="11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Magenta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1854000"/>
            <a:ext cx="3240000" cy="864000"/>
          </a:xfrm>
        </p:spPr>
        <p:txBody>
          <a:bodyPr/>
          <a:lstStyle>
            <a:lvl1pPr>
              <a:lnSpc>
                <a:spcPts val="34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76EE21-7D14-4D4C-B349-19933495ED4B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719138" y="2852738"/>
            <a:ext cx="3240000" cy="115252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2" descr="S:\Clients\Radley Yeldar\GSK\Working\GSK Logo 43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00" y="576000"/>
            <a:ext cx="1557338" cy="569913"/>
          </a:xfrm>
          <a:prstGeom prst="rect">
            <a:avLst/>
          </a:prstGeom>
          <a:noFill/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Page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Magenta Bod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1800"/>
              </a:lnSpc>
              <a:defRPr sz="1500"/>
            </a:lvl1pPr>
            <a:lvl2pPr>
              <a:lnSpc>
                <a:spcPts val="1800"/>
              </a:lnSpc>
              <a:defRPr sz="1500"/>
            </a:lvl2pPr>
            <a:lvl3pPr>
              <a:lnSpc>
                <a:spcPts val="1800"/>
              </a:lnSpc>
              <a:buClr>
                <a:schemeClr val="accent3"/>
              </a:buClr>
              <a:defRPr sz="1500"/>
            </a:lvl3pPr>
            <a:lvl4pPr>
              <a:lnSpc>
                <a:spcPts val="1800"/>
              </a:lnSpc>
              <a:buClr>
                <a:schemeClr val="accent3"/>
              </a:buClr>
              <a:defRPr sz="1500"/>
            </a:lvl4pPr>
            <a:lvl5pPr>
              <a:lnSpc>
                <a:spcPts val="1800"/>
              </a:lnSpc>
              <a:buClr>
                <a:schemeClr val="accent3"/>
              </a:buCl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A5EAB-F263-4ECE-909D-82F6CF316F85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21450" y="720000"/>
            <a:ext cx="864000" cy="864000"/>
          </a:xfrm>
        </p:spPr>
        <p:txBody>
          <a:bodyPr/>
          <a:lstStyle>
            <a:lvl1pPr>
              <a:lnSpc>
                <a:spcPts val="11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lue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1854000"/>
            <a:ext cx="3240000" cy="864000"/>
          </a:xfrm>
        </p:spPr>
        <p:txBody>
          <a:bodyPr/>
          <a:lstStyle>
            <a:lvl1pPr>
              <a:lnSpc>
                <a:spcPts val="34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4A987-C906-4917-9953-5865B2065BA3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719138" y="2852738"/>
            <a:ext cx="3240000" cy="115252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2" descr="S:\Clients\Radley Yeldar\GSK\Working\GSK Logo 43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00" y="576000"/>
            <a:ext cx="1557338" cy="569913"/>
          </a:xfrm>
          <a:prstGeom prst="rect">
            <a:avLst/>
          </a:prstGeom>
          <a:noFill/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Page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Blue Bod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1800"/>
              </a:lnSpc>
              <a:defRPr sz="1500"/>
            </a:lvl1pPr>
            <a:lvl2pPr>
              <a:lnSpc>
                <a:spcPts val="1800"/>
              </a:lnSpc>
              <a:defRPr sz="1500"/>
            </a:lvl2pPr>
            <a:lvl3pPr>
              <a:lnSpc>
                <a:spcPts val="1800"/>
              </a:lnSpc>
              <a:buClr>
                <a:schemeClr val="accent5"/>
              </a:buClr>
              <a:defRPr sz="1500"/>
            </a:lvl3pPr>
            <a:lvl4pPr>
              <a:lnSpc>
                <a:spcPts val="1800"/>
              </a:lnSpc>
              <a:buClr>
                <a:schemeClr val="accent5"/>
              </a:buClr>
              <a:defRPr sz="1500"/>
            </a:lvl4pPr>
            <a:lvl5pPr>
              <a:lnSpc>
                <a:spcPts val="1800"/>
              </a:lnSpc>
              <a:buClr>
                <a:schemeClr val="accent5"/>
              </a:buCl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A41D6-754D-48CE-BF07-50B7FA6E56D3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21450" y="720000"/>
            <a:ext cx="864000" cy="864000"/>
          </a:xfrm>
        </p:spPr>
        <p:txBody>
          <a:bodyPr/>
          <a:lstStyle>
            <a:lvl1pPr>
              <a:lnSpc>
                <a:spcPts val="11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Red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1854000"/>
            <a:ext cx="3240000" cy="864000"/>
          </a:xfrm>
        </p:spPr>
        <p:txBody>
          <a:bodyPr/>
          <a:lstStyle>
            <a:lvl1pPr>
              <a:lnSpc>
                <a:spcPts val="34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C64BC0-C6AF-45BB-A096-F7E7CD8DD99B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719138" y="2852738"/>
            <a:ext cx="3240000" cy="115252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2" descr="S:\Clients\Radley Yeldar\GSK\Working\GSK Logo 43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00" y="576000"/>
            <a:ext cx="1557338" cy="569913"/>
          </a:xfrm>
          <a:prstGeom prst="rect">
            <a:avLst/>
          </a:prstGeom>
          <a:noFill/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Pag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Red Bod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1800"/>
              </a:lnSpc>
              <a:defRPr sz="1500"/>
            </a:lvl1pPr>
            <a:lvl2pPr>
              <a:lnSpc>
                <a:spcPts val="1800"/>
              </a:lnSpc>
              <a:defRPr sz="1500"/>
            </a:lvl2pPr>
            <a:lvl3pPr>
              <a:lnSpc>
                <a:spcPts val="1800"/>
              </a:lnSpc>
              <a:buClr>
                <a:schemeClr val="accent4"/>
              </a:buClr>
              <a:defRPr sz="1500"/>
            </a:lvl3pPr>
            <a:lvl4pPr>
              <a:lnSpc>
                <a:spcPts val="1800"/>
              </a:lnSpc>
              <a:buClr>
                <a:schemeClr val="accent4"/>
              </a:buClr>
              <a:defRPr sz="1500"/>
            </a:lvl4pPr>
            <a:lvl5pPr>
              <a:lnSpc>
                <a:spcPts val="1800"/>
              </a:lnSpc>
              <a:buClr>
                <a:schemeClr val="accent4"/>
              </a:buCl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2ECA0-0E08-4092-8682-8C6519EC00B7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21450" y="720000"/>
            <a:ext cx="864000" cy="864000"/>
          </a:xfrm>
        </p:spPr>
        <p:txBody>
          <a:bodyPr/>
          <a:lstStyle>
            <a:lvl1pPr>
              <a:lnSpc>
                <a:spcPts val="11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me Titl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1854000"/>
            <a:ext cx="3240000" cy="864000"/>
          </a:xfrm>
        </p:spPr>
        <p:txBody>
          <a:bodyPr/>
          <a:lstStyle>
            <a:lvl1pPr>
              <a:lnSpc>
                <a:spcPts val="34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7B058-AD8D-484A-88BE-39C61CDEAD0B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719138" y="2852738"/>
            <a:ext cx="3240000" cy="115252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20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Picture 2" descr="S:\Clients\Radley Yeldar\GSK\Working\GSK Logo 43mm 300dpi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5200" y="576000"/>
            <a:ext cx="1557338" cy="569913"/>
          </a:xfrm>
          <a:prstGeom prst="rect">
            <a:avLst/>
          </a:prstGeom>
          <a:noFill/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Page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ime Bod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ts val="1800"/>
              </a:lnSpc>
              <a:defRPr sz="1500"/>
            </a:lvl1pPr>
            <a:lvl2pPr>
              <a:lnSpc>
                <a:spcPts val="1800"/>
              </a:lnSpc>
              <a:defRPr sz="1500"/>
            </a:lvl2pPr>
            <a:lvl3pPr>
              <a:lnSpc>
                <a:spcPts val="1800"/>
              </a:lnSpc>
              <a:buClr>
                <a:schemeClr val="accent1"/>
              </a:buClr>
              <a:defRPr sz="1500"/>
            </a:lvl3pPr>
            <a:lvl4pPr>
              <a:lnSpc>
                <a:spcPts val="1800"/>
              </a:lnSpc>
              <a:buClr>
                <a:schemeClr val="accent1"/>
              </a:buClr>
              <a:defRPr sz="1500"/>
            </a:lvl4pPr>
            <a:lvl5pPr>
              <a:lnSpc>
                <a:spcPts val="1800"/>
              </a:lnSpc>
              <a:buClr>
                <a:schemeClr val="accent1"/>
              </a:buCl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99FA2-E5DC-4AE4-AF79-852D1E690A7A}" type="datetime1">
              <a:rPr lang="en-US" smtClean="0">
                <a:solidFill>
                  <a:prstClr val="white"/>
                </a:solidFill>
              </a:rPr>
              <a:pPr/>
              <a:t>6/6/2018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[Update footer with Insert &gt; Header &amp; Foote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0B365-32CF-4260-A678-325987727875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121450" y="720000"/>
            <a:ext cx="864000" cy="864000"/>
          </a:xfrm>
        </p:spPr>
        <p:txBody>
          <a:bodyPr/>
          <a:lstStyle>
            <a:lvl1pPr>
              <a:lnSpc>
                <a:spcPts val="1100"/>
              </a:lnSpc>
              <a:spcBef>
                <a:spcPts val="0"/>
              </a:spcBef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77932-36C8-4F0A-82C4-A72EF6E4F466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McK Title Elements"/>
          <p:cNvGrpSpPr>
            <a:grpSpLocks/>
          </p:cNvGrpSpPr>
          <p:nvPr userDrawn="1"/>
        </p:nvGrpSpPr>
        <p:grpSpPr bwMode="auto">
          <a:xfrm>
            <a:off x="2693988" y="6029325"/>
            <a:ext cx="5035550" cy="485775"/>
            <a:chOff x="1697" y="3798"/>
            <a:chExt cx="3172" cy="306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97" y="3798"/>
              <a:ext cx="317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33169">
                <a:defRPr/>
              </a:pPr>
              <a:r>
                <a:rPr lang="en-GB" sz="1400" dirty="0">
                  <a:solidFill>
                    <a:srgbClr val="000066"/>
                  </a:solidFill>
                  <a:latin typeface="Arial" charset="0"/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>
              <p:custDataLst>
                <p:tags r:id="rId2"/>
              </p:custDataLst>
            </p:nvPr>
          </p:nvSpPr>
          <p:spPr bwMode="auto">
            <a:xfrm>
              <a:off x="1697" y="3968"/>
              <a:ext cx="317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33169">
                <a:defRPr/>
              </a:pPr>
              <a:r>
                <a:rPr lang="en-GB" sz="1400" dirty="0">
                  <a:solidFill>
                    <a:srgbClr val="000066"/>
                  </a:solidFill>
                  <a:latin typeface="Arial" charset="0"/>
                </a:rPr>
                <a:t>D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03783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6118CA-9F44-4156-9ED2-506F444C3C7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92865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39D6BC-60A0-412E-9EB3-23C0B428A5BE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87949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C38993-95BB-4E27-86EC-1137F01BD0C1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29476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24810FF-5493-4584-A949-7FB591128B5F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88817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B8C815-CAAC-4B0C-BB4E-40AC6BE93A1C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383359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ED0E38-57F6-482A-83F2-E738F0ED5F4E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2568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6449BC-5223-43C5-A195-FC6AAC9F8A57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035484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82713B-D153-4545-AF77-2EF456456D1B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66717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35F776-1083-4F82-ADDF-CF7A0DBA8EB1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663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670933-EDCA-445F-8245-F7A64E796A23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02060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58775" indent="-358775">
              <a:spcBef>
                <a:spcPts val="1800"/>
              </a:spcBef>
              <a:buClr>
                <a:schemeClr val="bg2"/>
              </a:buClr>
              <a:buFont typeface="+mj-lt"/>
              <a:buAutoNum type="arabicPeriod"/>
              <a:defRPr sz="1800" b="0"/>
            </a:lvl1pPr>
            <a:lvl2pPr marL="701675" indent="-342900">
              <a:buFont typeface="+mj-lt"/>
              <a:buAutoNum type="arabicPeriod"/>
              <a:defRPr sz="1800"/>
            </a:lvl2pPr>
            <a:lvl3pPr marL="1060450" indent="-342900">
              <a:buFont typeface="+mj-lt"/>
              <a:buAutoNum type="arabicPeriod"/>
              <a:defRPr sz="1600"/>
            </a:lvl3pPr>
            <a:lvl4pPr marL="1419225" indent="-342900">
              <a:buFont typeface="+mj-lt"/>
              <a:buAutoNum type="arabicPeriod"/>
              <a:defRPr sz="1600"/>
            </a:lvl4pPr>
            <a:lvl5pPr marL="1778000" indent="-342900">
              <a:buFont typeface="+mj-lt"/>
              <a:buAutoNum type="arabicPeriod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77374" y="6476208"/>
            <a:ext cx="288032" cy="365125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57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63440" y="6476208"/>
            <a:ext cx="109406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327EEBA-7B08-469C-9E64-E3372277D37A}" type="datetime1">
              <a:rPr lang="en-US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6/6/2018</a:t>
            </a:fld>
            <a:endParaRPr lang="en-GB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8" y="6476208"/>
            <a:ext cx="136815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>
                <a:solidFill>
                  <a:prstClr val="black"/>
                </a:solidFill>
                <a:latin typeface="Arial"/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073655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tags" Target="../tags/tag24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42" Type="http://schemas.openxmlformats.org/officeDocument/2006/relationships/tags" Target="../tags/tag27.xml"/><Relationship Id="rId47" Type="http://schemas.openxmlformats.org/officeDocument/2006/relationships/image" Target="../media/image6.jpe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Relationship Id="rId46" Type="http://schemas.openxmlformats.org/officeDocument/2006/relationships/image" Target="../media/image5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tags" Target="../tags/tag26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tags" Target="../tags/tag2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4" Type="http://schemas.openxmlformats.org/officeDocument/2006/relationships/tags" Target="../tags/tag29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43" Type="http://schemas.openxmlformats.org/officeDocument/2006/relationships/tags" Target="../tags/tag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8" descr="big balls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6781800" y="6537325"/>
            <a:ext cx="239681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GB" sz="1000" b="1" i="1" dirty="0">
                <a:solidFill>
                  <a:srgbClr val="5F5F5F"/>
                </a:solidFill>
                <a:latin typeface="+mn-lt"/>
              </a:rPr>
              <a:t>Sri Lanka </a:t>
            </a:r>
            <a:r>
              <a:rPr lang="en-GB" sz="1000" b="1" i="1" dirty="0" err="1">
                <a:solidFill>
                  <a:srgbClr val="5F5F5F"/>
                </a:solidFill>
                <a:latin typeface="+mn-lt"/>
              </a:rPr>
              <a:t>Cx</a:t>
            </a:r>
            <a:r>
              <a:rPr lang="en-GB" sz="1000" b="1" i="1" dirty="0">
                <a:solidFill>
                  <a:srgbClr val="5F5F5F"/>
                </a:solidFill>
                <a:latin typeface="+mn-lt"/>
              </a:rPr>
              <a:t> Project  Management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63713" y="476250"/>
            <a:ext cx="684053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14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63713" y="1773238"/>
            <a:ext cx="6840537" cy="439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39" r:id="rId2"/>
    <p:sldLayoutId id="2147484240" r:id="rId3"/>
    <p:sldLayoutId id="2147484241" r:id="rId4"/>
    <p:sldLayoutId id="2147484242" r:id="rId5"/>
    <p:sldLayoutId id="2147484243" r:id="rId6"/>
    <p:sldLayoutId id="2147484244" r:id="rId7"/>
    <p:sldLayoutId id="2147484245" r:id="rId8"/>
    <p:sldLayoutId id="2147484246" r:id="rId9"/>
    <p:sldLayoutId id="2147484247" r:id="rId10"/>
    <p:sldLayoutId id="2147484248" r:id="rId11"/>
    <p:sldLayoutId id="2147484249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43E88"/>
          </a:solidFill>
          <a:latin typeface="Tahoma" pitchFamily="34" charset="0"/>
        </a:defRPr>
      </a:lvl9pPr>
    </p:titleStyle>
    <p:bodyStyle>
      <a:lvl1pPr marL="571500" indent="-571500" algn="l" rtl="0" eaLnBrk="0" fontAlgn="base" hangingPunct="0">
        <a:spcBef>
          <a:spcPct val="20000"/>
        </a:spcBef>
        <a:spcAft>
          <a:spcPct val="0"/>
        </a:spcAft>
        <a:buClr>
          <a:srgbClr val="0000FF"/>
        </a:buClr>
        <a:buFont typeface="Monotype Sorts" pitchFamily="2" charset="2"/>
        <a:buBlip>
          <a:blip r:embed="rId15"/>
        </a:buBlip>
        <a:defRPr sz="2000">
          <a:solidFill>
            <a:srgbClr val="243E88"/>
          </a:solidFill>
          <a:latin typeface="+mn-lt"/>
          <a:ea typeface="+mn-ea"/>
          <a:cs typeface="+mn-cs"/>
        </a:defRPr>
      </a:lvl1pPr>
      <a:lvl2pPr marL="1238250" indent="-476250" algn="l" rtl="0" eaLnBrk="0" fontAlgn="base" hangingPunct="0">
        <a:spcBef>
          <a:spcPct val="20000"/>
        </a:spcBef>
        <a:spcAft>
          <a:spcPct val="0"/>
        </a:spcAft>
        <a:buClr>
          <a:srgbClr val="5F5F5F"/>
        </a:buClr>
        <a:buSzPct val="70000"/>
        <a:buFont typeface="Monotype Sorts" pitchFamily="2" charset="2"/>
        <a:buBlip>
          <a:blip r:embed="rId15"/>
        </a:buBlip>
        <a:defRPr sz="2000">
          <a:solidFill>
            <a:srgbClr val="5F5F5F"/>
          </a:solidFill>
          <a:latin typeface="+mn-lt"/>
        </a:defRPr>
      </a:lvl2pPr>
      <a:lvl3pPr marL="1809750" indent="-381000" algn="l" rtl="0" eaLnBrk="0" fontAlgn="base" hangingPunct="0">
        <a:spcBef>
          <a:spcPct val="20000"/>
        </a:spcBef>
        <a:spcAft>
          <a:spcPct val="0"/>
        </a:spcAft>
        <a:buClr>
          <a:srgbClr val="A80054"/>
        </a:buClr>
        <a:buSzPct val="30000"/>
        <a:buFont typeface="Monotype Sorts" pitchFamily="2" charset="2"/>
        <a:buBlip>
          <a:blip r:embed="rId15"/>
        </a:buBlip>
        <a:defRPr>
          <a:solidFill>
            <a:srgbClr val="009999"/>
          </a:solidFill>
          <a:latin typeface="+mn-lt"/>
        </a:defRPr>
      </a:lvl3pPr>
      <a:lvl4pPr marL="222885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</a:defRPr>
      </a:lvl4pPr>
      <a:lvl5pPr marL="264795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310515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356235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401955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447675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45" imgW="360" imgH="360" progId="">
                  <p:embed/>
                </p:oleObj>
              </mc:Choice>
              <mc:Fallback>
                <p:oleObj name="think-cell Slide" r:id="rId4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3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ltGray">
          <a:xfrm>
            <a:off x="0" y="12700"/>
            <a:ext cx="9144000" cy="683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McK 2. Slide Title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122238" y="234950"/>
            <a:ext cx="812482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7461" name="McK 1. On-page tracke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2238" y="25400"/>
            <a:ext cx="8588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169">
              <a:defRPr/>
            </a:pPr>
            <a:r>
              <a:rPr lang="en-GB" sz="1400" dirty="0">
                <a:solidFill>
                  <a:srgbClr val="808080"/>
                </a:solidFill>
                <a:latin typeface="Arial" charset="0"/>
              </a:rPr>
              <a:t>TRACKER</a:t>
            </a:r>
          </a:p>
        </p:txBody>
      </p:sp>
      <p:sp>
        <p:nvSpPr>
          <p:cNvPr id="147462" name="McK 3. Unit of measur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2238" y="542925"/>
            <a:ext cx="3729037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538">
              <a:defRPr/>
            </a:pPr>
            <a:r>
              <a:rPr lang="en-GB" sz="1400" dirty="0">
                <a:solidFill>
                  <a:srgbClr val="000066"/>
                </a:solidFill>
                <a:latin typeface="Arial" charset="0"/>
              </a:rPr>
              <a:t>Unit of measure</a:t>
            </a:r>
          </a:p>
        </p:txBody>
      </p:sp>
      <p:grpSp>
        <p:nvGrpSpPr>
          <p:cNvPr id="1032" name="McK Slide Elements"/>
          <p:cNvGrpSpPr>
            <a:grpSpLocks/>
          </p:cNvGrpSpPr>
          <p:nvPr userDrawn="1"/>
        </p:nvGrpSpPr>
        <p:grpSpPr bwMode="auto">
          <a:xfrm>
            <a:off x="122238" y="6383338"/>
            <a:ext cx="6627812" cy="392112"/>
            <a:chOff x="77" y="4022"/>
            <a:chExt cx="4176" cy="247"/>
          </a:xfrm>
        </p:grpSpPr>
        <p:sp>
          <p:nvSpPr>
            <p:cNvPr id="14746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7" y="4022"/>
              <a:ext cx="417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43" indent="-104743" defTabSz="912538">
                <a:defRPr/>
              </a:pPr>
              <a:r>
                <a:rPr lang="en-GB" sz="1000" dirty="0">
                  <a:solidFill>
                    <a:srgbClr val="000066"/>
                  </a:solidFill>
                  <a:latin typeface="Arial" charset="0"/>
                </a:rPr>
                <a:t>1 Footnote</a:t>
              </a:r>
            </a:p>
          </p:txBody>
        </p:sp>
        <p:sp>
          <p:nvSpPr>
            <p:cNvPr id="147465" name="McK 5. Source" hidden="1"/>
            <p:cNvSpPr>
              <a:spLocks noChangeArrowheads="1"/>
            </p:cNvSpPr>
            <p:nvPr userDrawn="1"/>
          </p:nvSpPr>
          <p:spPr bwMode="auto">
            <a:xfrm>
              <a:off x="77" y="4172"/>
              <a:ext cx="417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69759" indent="-469759" defTabSz="912538">
                <a:tabLst>
                  <a:tab pos="471347" algn="l"/>
                </a:tabLst>
                <a:defRPr/>
              </a:pPr>
              <a:r>
                <a:rPr lang="en-GB" sz="1000" dirty="0">
                  <a:solidFill>
                    <a:srgbClr val="000066"/>
                  </a:solidFill>
                  <a:latin typeface="Arial" charset="0"/>
                </a:rPr>
                <a:t>Source: Source</a:t>
              </a:r>
            </a:p>
          </p:txBody>
        </p:sp>
      </p:grpSp>
      <p:grpSp>
        <p:nvGrpSpPr>
          <p:cNvPr id="1033" name="ACET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482725" y="1160463"/>
            <a:ext cx="4348163" cy="508000"/>
            <a:chOff x="915" y="717"/>
            <a:chExt cx="2686" cy="313"/>
          </a:xfrm>
        </p:grpSpPr>
        <p:cxnSp>
          <p:nvCxnSpPr>
            <p:cNvPr id="1079" name="AutoShape 11" hidden="1"/>
            <p:cNvCxnSpPr>
              <a:cxnSpLocks noChangeShapeType="1"/>
              <a:stCxn id="147468" idx="4"/>
              <a:endCxn id="14746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47468" name="AutoShape 12" hidden="1"/>
            <p:cNvSpPr>
              <a:spLocks noChangeArrowheads="1"/>
            </p:cNvSpPr>
            <p:nvPr/>
          </p:nvSpPr>
          <p:spPr bwMode="auto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537" anchor="b">
              <a:spAutoFit/>
            </a:bodyPr>
            <a:lstStyle/>
            <a:p>
              <a:pPr defTabSz="933169">
                <a:defRPr/>
              </a:pPr>
              <a:r>
                <a:rPr lang="en-GB" sz="1600" b="1" dirty="0">
                  <a:solidFill>
                    <a:srgbClr val="000066"/>
                  </a:solidFill>
                  <a:latin typeface="Arial" charset="0"/>
                </a:rPr>
                <a:t>Title</a:t>
              </a:r>
            </a:p>
            <a:p>
              <a:pPr defTabSz="933169">
                <a:defRPr/>
              </a:pPr>
              <a:r>
                <a:rPr lang="en-GB" sz="1600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147469" name="Rectangle 13"/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auto">
          <a:xfrm>
            <a:off x="8828088" y="6619875"/>
            <a:ext cx="188912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buClrTx/>
              <a:buSzTx/>
              <a:buFontTx/>
              <a:buNone/>
              <a:defRPr sz="1000" b="0">
                <a:solidFill>
                  <a:srgbClr val="000066"/>
                </a:solidFill>
              </a:defRPr>
            </a:lvl1pPr>
          </a:lstStyle>
          <a:p>
            <a:pPr>
              <a:defRPr/>
            </a:pPr>
            <a:fld id="{2B0703C0-9771-4D78-8EF9-4264368AC698}" type="slidenum">
              <a:rPr lang="en-GB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47470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31188" y="3278188"/>
            <a:ext cx="1730375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169">
              <a:defRPr/>
            </a:pPr>
            <a:r>
              <a:rPr lang="en-US" sz="600" dirty="0">
                <a:solidFill>
                  <a:srgbClr val="000066"/>
                </a:solidFill>
                <a:latin typeface="Arial" charset="0"/>
              </a:rPr>
              <a:t>Working Draft - Last Modified 23/09/2011 13:36:35</a:t>
            </a:r>
            <a:endParaRPr lang="en-GB" sz="1600" dirty="0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147471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611395" y="4802981"/>
            <a:ext cx="969962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169">
              <a:defRPr/>
            </a:pPr>
            <a:r>
              <a:rPr lang="en-GB" sz="600" dirty="0">
                <a:solidFill>
                  <a:srgbClr val="000066"/>
                </a:solidFill>
                <a:latin typeface="Arial" charset="0"/>
              </a:rPr>
              <a:t>Printed 20/09/2011 08:37:04</a:t>
            </a:r>
            <a:endParaRPr lang="en-GB" sz="1600" dirty="0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1037" name="Rectangle 16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443038" y="1789113"/>
            <a:ext cx="43878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038" name="LegendBoxes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556500" y="295275"/>
            <a:ext cx="849313" cy="977900"/>
            <a:chOff x="3394" y="519"/>
            <a:chExt cx="534" cy="616"/>
          </a:xfrm>
        </p:grpSpPr>
        <p:sp>
          <p:nvSpPr>
            <p:cNvPr id="147474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75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76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77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78" name="Legend1" hidden="1"/>
            <p:cNvSpPr>
              <a:spLocks noChangeArrowheads="1"/>
            </p:cNvSpPr>
            <p:nvPr userDrawn="1"/>
          </p:nvSpPr>
          <p:spPr bwMode="auto">
            <a:xfrm>
              <a:off x="3554" y="519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1</a:t>
              </a:r>
            </a:p>
          </p:txBody>
        </p:sp>
        <p:sp>
          <p:nvSpPr>
            <p:cNvPr id="147479" name="Legend2" hidden="1"/>
            <p:cNvSpPr>
              <a:spLocks noChangeArrowheads="1"/>
            </p:cNvSpPr>
            <p:nvPr userDrawn="1"/>
          </p:nvSpPr>
          <p:spPr bwMode="auto">
            <a:xfrm>
              <a:off x="3554" y="684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2</a:t>
              </a:r>
            </a:p>
          </p:txBody>
        </p:sp>
        <p:sp>
          <p:nvSpPr>
            <p:cNvPr id="147480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3</a:t>
              </a:r>
            </a:p>
          </p:txBody>
        </p:sp>
        <p:sp>
          <p:nvSpPr>
            <p:cNvPr id="147481" name="Legend4" hidden="1"/>
            <p:cNvSpPr>
              <a:spLocks noChangeArrowheads="1"/>
            </p:cNvSpPr>
            <p:nvPr userDrawn="1"/>
          </p:nvSpPr>
          <p:spPr bwMode="auto">
            <a:xfrm>
              <a:off x="3554" y="1019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4</a:t>
              </a:r>
            </a:p>
          </p:txBody>
        </p:sp>
      </p:grpSp>
      <p:grpSp>
        <p:nvGrpSpPr>
          <p:cNvPr id="1039" name="LegendLines" hidden="1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7239000" y="295275"/>
            <a:ext cx="1166813" cy="708025"/>
            <a:chOff x="2411" y="2750"/>
            <a:chExt cx="734" cy="446"/>
          </a:xfrm>
        </p:grpSpPr>
        <p:sp>
          <p:nvSpPr>
            <p:cNvPr id="147483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84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85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buClr>
                  <a:srgbClr val="000080"/>
                </a:buClr>
                <a:buSzPct val="125000"/>
                <a:buFont typeface="Arial" charset="0"/>
                <a:buChar char="▪"/>
                <a:defRPr/>
              </a:pPr>
              <a:endParaRPr lang="en-US" sz="13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7486" name="Legend1" hidden="1"/>
            <p:cNvSpPr>
              <a:spLocks noChangeArrowheads="1"/>
            </p:cNvSpPr>
            <p:nvPr userDrawn="1"/>
          </p:nvSpPr>
          <p:spPr bwMode="auto">
            <a:xfrm>
              <a:off x="2771" y="2750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1</a:t>
              </a:r>
            </a:p>
          </p:txBody>
        </p:sp>
        <p:sp>
          <p:nvSpPr>
            <p:cNvPr id="147487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2</a:t>
              </a:r>
            </a:p>
          </p:txBody>
        </p:sp>
        <p:sp>
          <p:nvSpPr>
            <p:cNvPr id="147488" name="Legend3" hidden="1"/>
            <p:cNvSpPr>
              <a:spLocks noChangeArrowheads="1"/>
            </p:cNvSpPr>
            <p:nvPr userDrawn="1"/>
          </p:nvSpPr>
          <p:spPr bwMode="auto">
            <a:xfrm>
              <a:off x="2771" y="3080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3</a:t>
              </a:r>
            </a:p>
          </p:txBody>
        </p:sp>
      </p:grpSp>
      <p:grpSp>
        <p:nvGrpSpPr>
          <p:cNvPr id="1040" name="Sticker" hidden="1"/>
          <p:cNvGrpSpPr>
            <a:grpSpLocks/>
          </p:cNvGrpSpPr>
          <p:nvPr>
            <p:custDataLst>
              <p:tags r:id="rId28"/>
            </p:custDataLst>
          </p:nvPr>
        </p:nvGrpSpPr>
        <p:grpSpPr bwMode="auto">
          <a:xfrm>
            <a:off x="7307263" y="295275"/>
            <a:ext cx="1093787" cy="212725"/>
            <a:chOff x="4817" y="376"/>
            <a:chExt cx="689" cy="134"/>
          </a:xfrm>
        </p:grpSpPr>
        <p:cxnSp>
          <p:nvCxnSpPr>
            <p:cNvPr id="1062" name="AutoShape 34" hidden="1"/>
            <p:cNvCxnSpPr>
              <a:cxnSpLocks noChangeShapeType="1"/>
              <a:stCxn id="147491" idx="4"/>
              <a:endCxn id="147491" idx="6"/>
            </p:cNvCxnSpPr>
            <p:nvPr userDrawn="1"/>
          </p:nvCxnSpPr>
          <p:spPr bwMode="auto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7491" name="AutoShape 35" hidden="1"/>
            <p:cNvSpPr>
              <a:spLocks noChangeArrowheads="1"/>
            </p:cNvSpPr>
            <p:nvPr userDrawn="1"/>
          </p:nvSpPr>
          <p:spPr bwMode="auto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27251" tIns="0" rIns="0" bIns="27251">
              <a:spAutoFit/>
            </a:bodyPr>
            <a:lstStyle/>
            <a:p>
              <a:pPr algn="r" defTabSz="895082">
                <a:buClr>
                  <a:srgbClr val="000080"/>
                </a:buClr>
                <a:defRPr/>
              </a:pPr>
              <a:r>
                <a:rPr lang="en-GB" sz="1200" dirty="0">
                  <a:solidFill>
                    <a:srgbClr val="808080"/>
                  </a:solidFill>
                  <a:latin typeface="Arial" charset="0"/>
                </a:rPr>
                <a:t>ILLUSTRATIVE</a:t>
              </a:r>
            </a:p>
          </p:txBody>
        </p:sp>
        <p:cxnSp>
          <p:nvCxnSpPr>
            <p:cNvPr id="1064" name="AutoShape 36" hidden="1"/>
            <p:cNvCxnSpPr>
              <a:cxnSpLocks noChangeShapeType="1"/>
              <a:stCxn id="147491" idx="2"/>
              <a:endCxn id="147491" idx="4"/>
            </p:cNvCxnSpPr>
            <p:nvPr userDrawn="1"/>
          </p:nvCxnSpPr>
          <p:spPr bwMode="auto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041" name="LegendMoons" hidden="1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7540625" y="295275"/>
            <a:ext cx="865188" cy="1236663"/>
            <a:chOff x="4750" y="1279"/>
            <a:chExt cx="544" cy="778"/>
          </a:xfrm>
        </p:grpSpPr>
        <p:grpSp>
          <p:nvGrpSpPr>
            <p:cNvPr id="1042" name="MoonLegend1" hidden="1"/>
            <p:cNvGrpSpPr>
              <a:grpSpLocks noChangeAspect="1"/>
            </p:cNvGrpSpPr>
            <p:nvPr userDrawn="1">
              <p:custDataLst>
                <p:tags r:id="rId30"/>
              </p:custDataLst>
            </p:nvPr>
          </p:nvGrpSpPr>
          <p:grpSpPr bwMode="auto">
            <a:xfrm>
              <a:off x="4750" y="1281"/>
              <a:ext cx="112" cy="112"/>
              <a:chOff x="4533" y="183"/>
              <a:chExt cx="144" cy="144"/>
            </a:xfrm>
          </p:grpSpPr>
          <p:sp>
            <p:nvSpPr>
              <p:cNvPr id="147495" name="Oval 39" hidden="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  <p:sp>
            <p:nvSpPr>
              <p:cNvPr id="147496" name="Arc 40" hidden="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grpSp>
          <p:nvGrpSpPr>
            <p:cNvPr id="1043" name="MoonLegend2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750" y="1445"/>
              <a:ext cx="112" cy="112"/>
              <a:chOff x="1694" y="2044"/>
              <a:chExt cx="160" cy="160"/>
            </a:xfrm>
          </p:grpSpPr>
          <p:sp>
            <p:nvSpPr>
              <p:cNvPr id="147498" name="Oval 42" hidden="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  <p:sp>
            <p:nvSpPr>
              <p:cNvPr id="147499" name="Arc 43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grpSp>
          <p:nvGrpSpPr>
            <p:cNvPr id="1044" name="MoonLegend3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4750" y="1610"/>
              <a:ext cx="112" cy="112"/>
              <a:chOff x="4495" y="897"/>
              <a:chExt cx="160" cy="160"/>
            </a:xfrm>
          </p:grpSpPr>
          <p:sp>
            <p:nvSpPr>
              <p:cNvPr id="147501" name="Oval 45" hidden="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blackWhite">
              <a:xfrm>
                <a:off x="4495" y="895"/>
                <a:ext cx="160" cy="16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  <p:sp>
            <p:nvSpPr>
              <p:cNvPr id="147502" name="Arc 46" hidden="1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black">
              <a:xfrm>
                <a:off x="4575" y="895"/>
                <a:ext cx="80" cy="16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grpSp>
          <p:nvGrpSpPr>
            <p:cNvPr id="1045" name="MoonLegend4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4750" y="1777"/>
              <a:ext cx="112" cy="112"/>
              <a:chOff x="4495" y="1198"/>
              <a:chExt cx="160" cy="160"/>
            </a:xfrm>
          </p:grpSpPr>
          <p:sp>
            <p:nvSpPr>
              <p:cNvPr id="147504" name="Oval 48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blackWhite">
              <a:xfrm>
                <a:off x="4495" y="120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  <p:sp>
            <p:nvSpPr>
              <p:cNvPr id="147505" name="Arc 49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black">
              <a:xfrm>
                <a:off x="4495" y="1200"/>
                <a:ext cx="160" cy="1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sp>
          <p:nvSpPr>
            <p:cNvPr id="147506" name="Legend1" hidden="1"/>
            <p:cNvSpPr>
              <a:spLocks noChangeArrowheads="1"/>
            </p:cNvSpPr>
            <p:nvPr userDrawn="1"/>
          </p:nvSpPr>
          <p:spPr bwMode="auto">
            <a:xfrm>
              <a:off x="4920" y="1279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1</a:t>
              </a:r>
            </a:p>
          </p:txBody>
        </p:sp>
        <p:sp>
          <p:nvSpPr>
            <p:cNvPr id="147507" name="Legend2" hidden="1"/>
            <p:cNvSpPr>
              <a:spLocks noChangeArrowheads="1"/>
            </p:cNvSpPr>
            <p:nvPr userDrawn="1"/>
          </p:nvSpPr>
          <p:spPr bwMode="auto">
            <a:xfrm>
              <a:off x="4920" y="1444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2</a:t>
              </a:r>
            </a:p>
          </p:txBody>
        </p:sp>
        <p:sp>
          <p:nvSpPr>
            <p:cNvPr id="147508" name="Legend3" hidden="1"/>
            <p:cNvSpPr>
              <a:spLocks noChangeArrowheads="1"/>
            </p:cNvSpPr>
            <p:nvPr userDrawn="1"/>
          </p:nvSpPr>
          <p:spPr bwMode="auto">
            <a:xfrm>
              <a:off x="4920" y="1609"/>
              <a:ext cx="371" cy="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3</a:t>
              </a:r>
            </a:p>
          </p:txBody>
        </p:sp>
        <p:sp>
          <p:nvSpPr>
            <p:cNvPr id="147509" name="Legend4" hidden="1"/>
            <p:cNvSpPr>
              <a:spLocks noChangeArrowheads="1"/>
            </p:cNvSpPr>
            <p:nvPr userDrawn="1"/>
          </p:nvSpPr>
          <p:spPr bwMode="auto">
            <a:xfrm>
              <a:off x="4920" y="1776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4</a:t>
              </a:r>
            </a:p>
          </p:txBody>
        </p:sp>
        <p:sp>
          <p:nvSpPr>
            <p:cNvPr id="147510" name="Legend5" hidden="1"/>
            <p:cNvSpPr>
              <a:spLocks noChangeArrowheads="1"/>
            </p:cNvSpPr>
            <p:nvPr userDrawn="1"/>
          </p:nvSpPr>
          <p:spPr bwMode="auto">
            <a:xfrm>
              <a:off x="4920" y="1941"/>
              <a:ext cx="374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GB" sz="1200" dirty="0">
                  <a:solidFill>
                    <a:srgbClr val="000066"/>
                  </a:solidFill>
                  <a:latin typeface="Arial" charset="0"/>
                </a:rPr>
                <a:t>Legend5</a:t>
              </a:r>
            </a:p>
          </p:txBody>
        </p:sp>
        <p:grpSp>
          <p:nvGrpSpPr>
            <p:cNvPr id="1051" name="MoonLegend5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750" y="1942"/>
              <a:ext cx="112" cy="112"/>
              <a:chOff x="4560" y="1777"/>
              <a:chExt cx="112" cy="112"/>
            </a:xfrm>
          </p:grpSpPr>
          <p:sp>
            <p:nvSpPr>
              <p:cNvPr id="147512" name="Oval 56" hidden="1"/>
              <p:cNvSpPr>
                <a:spLocks noChangeAspect="1" noChangeArrowheads="1"/>
              </p:cNvSpPr>
              <p:nvPr userDrawn="1">
                <p:custDataLst>
                  <p:tags r:id="rId35"/>
                </p:custDataLst>
              </p:nvPr>
            </p:nvSpPr>
            <p:spPr bwMode="blackWhite">
              <a:xfrm>
                <a:off x="4560" y="1777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  <p:sp>
            <p:nvSpPr>
              <p:cNvPr id="147513" name="Oval 57" hidden="1"/>
              <p:cNvSpPr>
                <a:spLocks noChangeAspect="1" noChangeArrowheads="1"/>
              </p:cNvSpPr>
              <p:nvPr userDrawn="1">
                <p:custDataLst>
                  <p:tags r:id="rId36"/>
                </p:custDataLst>
              </p:nvPr>
            </p:nvSpPr>
            <p:spPr bwMode="black">
              <a:xfrm>
                <a:off x="4560" y="177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>
                  <a:buClr>
                    <a:srgbClr val="000080"/>
                  </a:buClr>
                  <a:buSzPct val="125000"/>
                  <a:buFont typeface="Arial" charset="0"/>
                  <a:buChar char="▪"/>
                  <a:defRPr/>
                </a:pPr>
                <a:endParaRPr lang="en-US" sz="1300" b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  <p:sldLayoutId id="2147484425" r:id="rId12"/>
    <p:sldLayoutId id="2147484422" r:id="rId13"/>
  </p:sldLayoutIdLst>
  <p:hf hdr="0" ftr="0" dt="0"/>
  <p:txStyles>
    <p:titleStyle>
      <a:lvl1pPr algn="l" defTabSz="91122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22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2pPr>
      <a:lvl3pPr algn="l" defTabSz="91122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3pPr>
      <a:lvl4pPr algn="l" defTabSz="91122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4pPr>
      <a:lvl5pPr algn="l" defTabSz="911225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5pPr>
      <a:lvl6pPr marL="457064" algn="l" defTabSz="912538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6pPr>
      <a:lvl7pPr marL="914125" algn="l" defTabSz="912538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7pPr>
      <a:lvl8pPr marL="1371189" algn="l" defTabSz="912538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8pPr>
      <a:lvl9pPr marL="1828251" algn="l" defTabSz="912538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5138" indent="-266700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25475" indent="-15716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60413" indent="-13176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8834" indent="-133309" algn="l" defTabSz="91253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5898" indent="-133309" algn="l" defTabSz="91253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2959" indent="-133309" algn="l" defTabSz="91253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0023" indent="-133309" algn="l" defTabSz="91253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4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5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5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6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0"/>
            <a:ext cx="9144000" cy="1049338"/>
          </a:xfrm>
          <a:prstGeom prst="rect">
            <a:avLst/>
          </a:prstGeom>
          <a:solidFill>
            <a:schemeClr val="tx2"/>
          </a:solidFill>
          <a:ln w="25400" algn="ctr">
            <a:noFill/>
            <a:miter lim="800000"/>
            <a:headEnd/>
            <a:tailEnd/>
          </a:ln>
        </p:spPr>
        <p:txBody>
          <a:bodyPr lIns="80958" tIns="40479" rIns="80958" bIns="40479" anchor="ctr"/>
          <a:lstStyle/>
          <a:p>
            <a:pPr algn="ctr" defTabSz="808478">
              <a:defRPr/>
            </a:pPr>
            <a:endParaRPr lang="en-GB" sz="2800" b="1" dirty="0">
              <a:solidFill>
                <a:srgbClr val="FFFFFF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7171" name="Title Placeholder 3"/>
          <p:cNvSpPr>
            <a:spLocks noGrp="1"/>
          </p:cNvSpPr>
          <p:nvPr>
            <p:ph type="title"/>
          </p:nvPr>
        </p:nvSpPr>
        <p:spPr bwMode="auto">
          <a:xfrm>
            <a:off x="247650" y="76200"/>
            <a:ext cx="8577263" cy="85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958" tIns="40479" rIns="80958" bIns="404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172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9713" y="1314450"/>
            <a:ext cx="8585200" cy="473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958" tIns="40479" rIns="80958" bIns="404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8824913" y="7059613"/>
            <a:ext cx="333375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defTabSz="808478">
              <a:defRPr/>
            </a:pPr>
            <a:r>
              <a:rPr lang="en-GB" sz="1500" dirty="0">
                <a:solidFill>
                  <a:srgbClr val="595959"/>
                </a:solidFill>
                <a:latin typeface="Calibri" pitchFamily="34" charset="0"/>
                <a:ea typeface="Arial Unicode MS" pitchFamily="34" charset="-128"/>
              </a:rPr>
              <a:t>  </a:t>
            </a:r>
            <a:fld id="{6EDA8BAC-D114-413F-88CE-7F51C244329D}" type="slidenum">
              <a:rPr lang="en-GB" sz="1500">
                <a:solidFill>
                  <a:srgbClr val="595959"/>
                </a:solidFill>
                <a:latin typeface="Calibri" pitchFamily="34" charset="0"/>
                <a:ea typeface="Arial Unicode MS" pitchFamily="34" charset="-128"/>
              </a:rPr>
              <a:pPr defTabSz="808478">
                <a:defRPr/>
              </a:pPr>
              <a:t>‹#›</a:t>
            </a:fld>
            <a:endParaRPr lang="en-GB" sz="1500" dirty="0">
              <a:solidFill>
                <a:srgbClr val="595959"/>
              </a:solidFill>
              <a:latin typeface="Calibri" pitchFamily="34" charset="0"/>
              <a:ea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0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61" r:id="rId12"/>
    <p:sldLayoutId id="2147484275" r:id="rId13"/>
    <p:sldLayoutId id="2147484276" r:id="rId14"/>
    <p:sldLayoutId id="2147484262" r:id="rId15"/>
    <p:sldLayoutId id="2147484277" r:id="rId16"/>
    <p:sldLayoutId id="2147484278" r:id="rId17"/>
  </p:sldLayoutIdLst>
  <p:transition>
    <p:fade/>
  </p:transition>
  <p:txStyles>
    <p:titleStyle>
      <a:lvl1pPr algn="l" defTabSz="12446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1pPr>
      <a:lvl2pPr algn="l" defTabSz="12446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2pPr>
      <a:lvl3pPr algn="l" defTabSz="12446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3pPr>
      <a:lvl4pPr algn="l" defTabSz="12446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4pPr>
      <a:lvl5pPr algn="l" defTabSz="12446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bg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5pPr>
      <a:lvl6pPr marL="404266" algn="l" defTabSz="1246478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TradeGothic Light" pitchFamily="2" charset="0"/>
        </a:defRPr>
      </a:lvl6pPr>
      <a:lvl7pPr marL="808529" algn="l" defTabSz="1246478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TradeGothic Light" pitchFamily="2" charset="0"/>
        </a:defRPr>
      </a:lvl7pPr>
      <a:lvl8pPr marL="1212796" algn="l" defTabSz="1246478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TradeGothic Light" pitchFamily="2" charset="0"/>
        </a:defRPr>
      </a:lvl8pPr>
      <a:lvl9pPr marL="1617064" algn="l" defTabSz="1246478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TradeGothic Light" pitchFamily="2" charset="0"/>
        </a:defRPr>
      </a:lvl9pPr>
    </p:titleStyle>
    <p:bodyStyle>
      <a:lvl1pPr marL="227013" indent="-227013" algn="l" defTabSz="1244600" rtl="0" eaLnBrk="0" fontAlgn="base" hangingPunct="0">
        <a:spcBef>
          <a:spcPts val="525"/>
        </a:spcBef>
        <a:spcAft>
          <a:spcPct val="0"/>
        </a:spcAft>
        <a:buFont typeface="Arial" pitchFamily="34" charset="0"/>
        <a:buChar char="•"/>
        <a:defRPr sz="3600">
          <a:solidFill>
            <a:schemeClr val="tx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1pPr>
      <a:lvl2pPr marL="635000" indent="-239713" algn="l" defTabSz="1244600" rtl="0" eaLnBrk="0" fontAlgn="base" hangingPunct="0">
        <a:spcBef>
          <a:spcPts val="525"/>
        </a:spcBef>
        <a:spcAft>
          <a:spcPct val="0"/>
        </a:spcAft>
        <a:buFont typeface="Arial" pitchFamily="34" charset="0"/>
        <a:buChar char="–"/>
        <a:defRPr sz="3200">
          <a:solidFill>
            <a:schemeClr val="tx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2pPr>
      <a:lvl3pPr marL="1436688" indent="-284163" algn="l" defTabSz="1244600" rtl="0" eaLnBrk="0" fontAlgn="base" hangingPunct="0">
        <a:spcBef>
          <a:spcPts val="525"/>
        </a:spcBef>
        <a:spcAft>
          <a:spcPct val="0"/>
        </a:spcAft>
        <a:buFont typeface="Arial" pitchFamily="34" charset="0"/>
        <a:buChar char="•"/>
        <a:defRPr sz="2800">
          <a:solidFill>
            <a:schemeClr val="tx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3pPr>
      <a:lvl4pPr marL="2005013" indent="-279400" algn="l" defTabSz="1244600" rtl="0" eaLnBrk="0" fontAlgn="base" hangingPunct="0">
        <a:spcBef>
          <a:spcPts val="525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4pPr>
      <a:lvl5pPr marL="2582863" indent="-287338" algn="l" defTabSz="1244600" rtl="0" eaLnBrk="0" fontAlgn="base" hangingPunct="0">
        <a:spcBef>
          <a:spcPts val="525"/>
        </a:spcBef>
        <a:spcAft>
          <a:spcPct val="0"/>
        </a:spcAft>
        <a:buFont typeface="Arial" pitchFamily="34" charset="0"/>
        <a:buChar char="»"/>
        <a:defRPr sz="2400">
          <a:solidFill>
            <a:schemeClr val="tx1"/>
          </a:solidFill>
          <a:latin typeface="Calibri" pitchFamily="34" charset="0"/>
          <a:ea typeface="Arial Unicode MS" pitchFamily="34" charset="-128"/>
          <a:cs typeface="Arial Unicode MS" pitchFamily="34" charset="-128"/>
        </a:defRPr>
      </a:lvl5pPr>
      <a:lvl6pPr marL="2989885" indent="-286355" algn="l" defTabSz="1246478" rtl="0" eaLnBrk="0" fontAlgn="base" hangingPunct="0">
        <a:spcBef>
          <a:spcPct val="20000"/>
        </a:spcBef>
        <a:spcAft>
          <a:spcPct val="0"/>
        </a:spcAft>
        <a:buFont typeface="Arial" charset="0"/>
        <a:defRPr sz="2500">
          <a:solidFill>
            <a:schemeClr val="bg1"/>
          </a:solidFill>
          <a:latin typeface="Calibri" pitchFamily="34" charset="0"/>
        </a:defRPr>
      </a:lvl6pPr>
      <a:lvl7pPr marL="3394150" indent="-286355" algn="l" defTabSz="1246478" rtl="0" eaLnBrk="0" fontAlgn="base" hangingPunct="0">
        <a:spcBef>
          <a:spcPct val="20000"/>
        </a:spcBef>
        <a:spcAft>
          <a:spcPct val="0"/>
        </a:spcAft>
        <a:buFont typeface="Arial" charset="0"/>
        <a:defRPr sz="2500">
          <a:solidFill>
            <a:schemeClr val="bg1"/>
          </a:solidFill>
          <a:latin typeface="Calibri" pitchFamily="34" charset="0"/>
        </a:defRPr>
      </a:lvl7pPr>
      <a:lvl8pPr marL="3798416" indent="-286355" algn="l" defTabSz="1246478" rtl="0" eaLnBrk="0" fontAlgn="base" hangingPunct="0">
        <a:spcBef>
          <a:spcPct val="20000"/>
        </a:spcBef>
        <a:spcAft>
          <a:spcPct val="0"/>
        </a:spcAft>
        <a:buFont typeface="Arial" charset="0"/>
        <a:defRPr sz="2500">
          <a:solidFill>
            <a:schemeClr val="bg1"/>
          </a:solidFill>
          <a:latin typeface="Calibri" pitchFamily="34" charset="0"/>
        </a:defRPr>
      </a:lvl8pPr>
      <a:lvl9pPr marL="4202682" indent="-286355" algn="l" defTabSz="1246478" rtl="0" eaLnBrk="0" fontAlgn="base" hangingPunct="0">
        <a:spcBef>
          <a:spcPct val="20000"/>
        </a:spcBef>
        <a:spcAft>
          <a:spcPct val="0"/>
        </a:spcAft>
        <a:buFont typeface="Arial" charset="0"/>
        <a:defRPr sz="2500">
          <a:solidFill>
            <a:schemeClr val="bg1"/>
          </a:solidFill>
          <a:latin typeface="Calibri" pitchFamily="34" charset="0"/>
        </a:defRPr>
      </a:lvl9pPr>
    </p:bodyStyle>
    <p:otherStyle>
      <a:defPPr>
        <a:defRPr lang="en-US"/>
      </a:defPPr>
      <a:lvl1pPr marL="0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04266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08529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12796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17064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21327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25594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29860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34128" algn="l" defTabSz="80852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6737" y="720000"/>
            <a:ext cx="6834187" cy="721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6737" y="1908001"/>
            <a:ext cx="6834187" cy="4383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29289" y="6516000"/>
            <a:ext cx="1571636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327EEBA-7B08-469C-9E64-E3372277D37A}" type="datetime1">
              <a:rPr lang="en-US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6/6/2018</a:t>
            </a:fld>
            <a:endParaRPr lang="en-GB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4000" y="6516000"/>
            <a:ext cx="28956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>
                <a:solidFill>
                  <a:prstClr val="black"/>
                </a:solidFill>
                <a:latin typeface="Arial"/>
              </a:rPr>
              <a:t>[Update footer with Insert &gt; Header &amp; Footer]</a:t>
            </a:r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4217" y="6516000"/>
            <a:ext cx="21904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566738" y="6516000"/>
            <a:ext cx="426988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prstClr val="black"/>
                </a:solidFill>
                <a:latin typeface="Arial"/>
              </a:rPr>
              <a:t>Pag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566738" y="565967"/>
            <a:ext cx="8577262" cy="0"/>
          </a:xfrm>
          <a:prstGeom prst="line">
            <a:avLst/>
          </a:prstGeom>
          <a:ln w="381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66738" y="1716095"/>
            <a:ext cx="8577262" cy="0"/>
          </a:xfrm>
          <a:prstGeom prst="line">
            <a:avLst/>
          </a:prstGeom>
          <a:ln w="381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0" r:id="rId1"/>
    <p:sldLayoutId id="2147484281" r:id="rId2"/>
    <p:sldLayoutId id="2147484282" r:id="rId3"/>
    <p:sldLayoutId id="2147484283" r:id="rId4"/>
    <p:sldLayoutId id="2147484284" r:id="rId5"/>
    <p:sldLayoutId id="2147484288" r:id="rId6"/>
    <p:sldLayoutId id="2147484289" r:id="rId7"/>
    <p:sldLayoutId id="2147484290" r:id="rId8"/>
    <p:sldLayoutId id="2147484291" r:id="rId9"/>
    <p:sldLayoutId id="2147484292" r:id="rId10"/>
    <p:sldLayoutId id="2147484293" r:id="rId11"/>
    <p:sldLayoutId id="2147484294" r:id="rId12"/>
    <p:sldLayoutId id="2147484295" r:id="rId13"/>
    <p:sldLayoutId id="2147484296" r:id="rId14"/>
    <p:sldLayoutId id="2147484297" r:id="rId15"/>
    <p:sldLayoutId id="2147484298" r:id="rId16"/>
    <p:sldLayoutId id="2147484299" r:id="rId17"/>
    <p:sldLayoutId id="2147484300" r:id="rId18"/>
    <p:sldLayoutId id="2147484301" r:id="rId19"/>
    <p:sldLayoutId id="2147484302" r:id="rId20"/>
  </p:sldLayoutIdLst>
  <p:hf hdr="0" ft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200"/>
        </a:lnSpc>
        <a:spcBef>
          <a:spcPts val="1200"/>
        </a:spcBef>
        <a:buClr>
          <a:schemeClr val="tx2"/>
        </a:buClr>
        <a:buFont typeface="Arial" pitchFamily="34" charset="0"/>
        <a:buNone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200"/>
        </a:lnSpc>
        <a:spcBef>
          <a:spcPts val="1200"/>
        </a:spcBef>
        <a:buClr>
          <a:schemeClr val="tx2"/>
        </a:buClr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ts val="2200"/>
        </a:lnSpc>
        <a:spcBef>
          <a:spcPts val="1200"/>
        </a:spcBef>
        <a:buClr>
          <a:schemeClr val="tx2"/>
        </a:buClr>
        <a:buFont typeface="Arial" pitchFamily="34" charset="0"/>
        <a:buChar char="▪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ts val="2000"/>
        </a:lnSpc>
        <a:spcBef>
          <a:spcPts val="1200"/>
        </a:spcBef>
        <a:buClr>
          <a:schemeClr val="tx2"/>
        </a:buClr>
        <a:buFont typeface="Arial" pitchFamily="34" charset="0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ts val="1800"/>
        </a:lnSpc>
        <a:spcBef>
          <a:spcPts val="1200"/>
        </a:spcBef>
        <a:buClr>
          <a:schemeClr val="tx2"/>
        </a:buClr>
        <a:buFont typeface="Arial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A5B278-7F32-4CAF-BA72-D4473D0EFB62}" type="datetimeFigureOut">
              <a:rPr lang="en-US" smtClean="0"/>
              <a:t>6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E77932-36C8-4F0A-82C4-A72EF6E4F466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122238" y="6383338"/>
            <a:ext cx="6627812" cy="392112"/>
            <a:chOff x="77" y="4022"/>
            <a:chExt cx="4176" cy="247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7" y="4022"/>
              <a:ext cx="417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43" indent="-104743" defTabSz="912538">
                <a:defRPr/>
              </a:pPr>
              <a:r>
                <a:rPr lang="en-GB" sz="1000" dirty="0">
                  <a:solidFill>
                    <a:srgbClr val="000066"/>
                  </a:solidFill>
                  <a:latin typeface="Arial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7" y="4172"/>
              <a:ext cx="417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69759" indent="-469759" defTabSz="912538">
                <a:tabLst>
                  <a:tab pos="471347" algn="l"/>
                </a:tabLst>
                <a:defRPr/>
              </a:pPr>
              <a:r>
                <a:rPr lang="en-GB" sz="1000" dirty="0">
                  <a:solidFill>
                    <a:srgbClr val="000066"/>
                  </a:solidFill>
                  <a:latin typeface="Arial" charset="0"/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586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47.jpg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1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7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4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0.jpeg"/><Relationship Id="rId9" Type="http://schemas.openxmlformats.org/officeDocument/2006/relationships/image" Target="../media/image55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4.xml"/><Relationship Id="rId6" Type="http://schemas.microsoft.com/office/2007/relationships/diagramDrawing" Target="../diagrams/drawing2.xml"/><Relationship Id="rId11" Type="http://schemas.openxmlformats.org/officeDocument/2006/relationships/image" Target="../media/image61.jpg"/><Relationship Id="rId5" Type="http://schemas.openxmlformats.org/officeDocument/2006/relationships/diagramColors" Target="../diagrams/colors2.xml"/><Relationship Id="rId10" Type="http://schemas.openxmlformats.org/officeDocument/2006/relationships/image" Target="../media/image60.jp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5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3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34.jp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0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4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4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4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4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0" y="1404937"/>
            <a:ext cx="7239000" cy="1985963"/>
          </a:xfrm>
        </p:spPr>
        <p:txBody>
          <a:bodyPr>
            <a:noAutofit/>
          </a:bodyPr>
          <a:lstStyle/>
          <a:p>
            <a:r>
              <a:rPr lang="en-GB" sz="4000" b="1" dirty="0">
                <a:solidFill>
                  <a:schemeClr val="tx2">
                    <a:lumMod val="75000"/>
                  </a:schemeClr>
                </a:solidFill>
              </a:rPr>
              <a:t>Challenges in Consumer Behaviour Change based on </a:t>
            </a:r>
            <a:br>
              <a:rPr lang="en-GB" sz="4000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GB" sz="4000" b="1" dirty="0">
                <a:solidFill>
                  <a:schemeClr val="tx2">
                    <a:lumMod val="75000"/>
                  </a:schemeClr>
                </a:solidFill>
              </a:rPr>
              <a:t>Colour Coding System for Beverages as a NCD Control Mechanism in Sri Lanka</a:t>
            </a:r>
            <a:endParaRPr lang="en-US" sz="4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4186237"/>
            <a:ext cx="7429500" cy="914400"/>
          </a:xfrm>
        </p:spPr>
        <p:txBody>
          <a:bodyPr>
            <a:noAutofit/>
          </a:bodyPr>
          <a:lstStyle/>
          <a:p>
            <a:r>
              <a:rPr lang="en-GB" sz="2800" dirty="0"/>
              <a:t>Sujeewa Gunaratne. PhD</a:t>
            </a:r>
          </a:p>
          <a:p>
            <a:r>
              <a:rPr lang="en-GB" sz="2800" b="1" dirty="0"/>
              <a:t>President </a:t>
            </a:r>
          </a:p>
          <a:p>
            <a:r>
              <a:rPr lang="en-GB" sz="2800" b="1" dirty="0"/>
              <a:t>Institute of Food Science &amp; Technology Sri Lanka </a:t>
            </a:r>
            <a:endParaRPr lang="en-US" sz="28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748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833" y="300905"/>
            <a:ext cx="8424333" cy="618258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Background to colour coding regulation for beverages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D76286B7-08DB-4B8F-9A60-278F45EC33CE}"/>
              </a:ext>
            </a:extLst>
          </p:cNvPr>
          <p:cNvSpPr txBox="1">
            <a:spLocks/>
          </p:cNvSpPr>
          <p:nvPr/>
        </p:nvSpPr>
        <p:spPr>
          <a:xfrm>
            <a:off x="304800" y="1219200"/>
            <a:ext cx="3657600" cy="4953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8775" indent="-358775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+mj-lt"/>
              <a:buAutoNum type="arabicPeriod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1675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0450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9225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8000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Ministry of Health National Multi-Sectoral Action Plan proposes to achieve several health goals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25% relative reduction in premature mortality from CVD, cancer, diabetes, or chronic respiratory diseases</a:t>
            </a:r>
            <a:endParaRPr lang="en-GB" sz="2400" dirty="0">
              <a:solidFill>
                <a:schemeClr val="accent6">
                  <a:lumMod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206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52321F-2432-4253-A1A3-4B5B85F9E7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067668"/>
            <a:ext cx="2123574" cy="14157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E7E82FF-9FE5-4D2B-8BBE-907BE3E85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030" y="2665245"/>
            <a:ext cx="2122344" cy="14513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2CBA93B-E560-4876-BF92-8E1C9BA26C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400" y="4101926"/>
            <a:ext cx="1918263" cy="192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942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5EF4C62-C047-4501-8CC1-44BA48A568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400" y="1447800"/>
            <a:ext cx="4673601" cy="2819400"/>
          </a:xfrm>
        </p:spPr>
      </p:pic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833" y="300905"/>
            <a:ext cx="8424333" cy="618258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Background to colour coding regulation for beverages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sp>
        <p:nvSpPr>
          <p:cNvPr id="7" name="Content Placeholder 21">
            <a:extLst>
              <a:ext uri="{FF2B5EF4-FFF2-40B4-BE49-F238E27FC236}">
                <a16:creationId xmlns:a16="http://schemas.microsoft.com/office/drawing/2014/main" id="{D76286B7-08DB-4B8F-9A60-278F45EC33CE}"/>
              </a:ext>
            </a:extLst>
          </p:cNvPr>
          <p:cNvSpPr txBox="1">
            <a:spLocks/>
          </p:cNvSpPr>
          <p:nvPr/>
        </p:nvSpPr>
        <p:spPr>
          <a:xfrm>
            <a:off x="304800" y="1219200"/>
            <a:ext cx="3657600" cy="49530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58775" indent="-358775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+mj-lt"/>
              <a:buAutoNum type="arabicPeriod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1675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0450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9225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8000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 colour coding regulation for sugar  implemented for beverages from 1</a:t>
            </a:r>
            <a:r>
              <a:rPr lang="en-GB" sz="2400" baseline="30000" dirty="0">
                <a:solidFill>
                  <a:srgbClr val="002060"/>
                </a:solidFill>
              </a:rPr>
              <a:t>st</a:t>
            </a:r>
            <a:r>
              <a:rPr lang="en-GB" sz="2400" dirty="0">
                <a:solidFill>
                  <a:srgbClr val="002060"/>
                </a:solidFill>
              </a:rPr>
              <a:t> Aug 2016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Types of beverages covered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</a:rPr>
              <a:t>Carbonated beverages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</a:rPr>
              <a:t>RTS other than milk based products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</a:rPr>
              <a:t>Fruit nectars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</a:rPr>
              <a:t>Fruit juices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935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4F2B172-4BD9-4C63-B034-70D29BB1AD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43" y="434941"/>
            <a:ext cx="2691021" cy="1790139"/>
          </a:xfrm>
        </p:spPr>
      </p:pic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C2FDAFC-DAAA-4C1E-BBC0-77ABDE9562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2667000"/>
            <a:ext cx="2628900" cy="3505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7A9F64-3B0A-48BC-B83B-BF7793D8EB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600" y="377230"/>
            <a:ext cx="2577346" cy="193301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A2BC1B0-55D1-44FD-8F45-D3606DF86C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026" y="377230"/>
            <a:ext cx="2466975" cy="18478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193DF39-5DAA-4925-BD72-FF3B89E039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2667000"/>
            <a:ext cx="3240738" cy="242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527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304800" y="1219200"/>
            <a:ext cx="8610600" cy="495300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2">
                    <a:lumMod val="75000"/>
                  </a:schemeClr>
                </a:solidFill>
              </a:rPr>
              <a:t>Understand the level of awareness of colour coding system for beverages in the populatio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2">
                    <a:lumMod val="75000"/>
                  </a:schemeClr>
                </a:solidFill>
              </a:rPr>
              <a:t>To study the ability of colour coding system on beverages to create behaviour changes in the popul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667" y="392113"/>
            <a:ext cx="7886700" cy="739774"/>
          </a:xfrm>
        </p:spPr>
        <p:txBody>
          <a:bodyPr/>
          <a:lstStyle/>
          <a:p>
            <a:r>
              <a:rPr lang="en-GB" b="1" dirty="0"/>
              <a:t>Objectives of the Study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461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304800" y="1219200"/>
            <a:ext cx="5125508" cy="4953000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 convenience sampling method adopt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Questionnaire on colour coding system distributed among population in Western Province (Colombo, </a:t>
            </a:r>
            <a:r>
              <a:rPr lang="en-GB" sz="2400" dirty="0" err="1">
                <a:solidFill>
                  <a:srgbClr val="002060"/>
                </a:solidFill>
              </a:rPr>
              <a:t>Kalutara</a:t>
            </a:r>
            <a:r>
              <a:rPr lang="en-GB" sz="2400" dirty="0">
                <a:solidFill>
                  <a:srgbClr val="002060"/>
                </a:solidFill>
              </a:rPr>
              <a:t>, Gampaha districts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Western is the most populated district, including the capit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 few respondents from adjoining distric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Questionnaire distributed by e mail, use of snow balling method, and manual completio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125 questionnaires issued, 71 responses received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206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206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667" y="392113"/>
            <a:ext cx="7886700" cy="598487"/>
          </a:xfrm>
        </p:spPr>
        <p:txBody>
          <a:bodyPr/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B57ED623-2FA2-4657-A73C-30B3884052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9497173"/>
              </p:ext>
            </p:extLst>
          </p:nvPr>
        </p:nvGraphicFramePr>
        <p:xfrm>
          <a:off x="98425" y="98425"/>
          <a:ext cx="3140075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8" name="Acrobat Document" r:id="rId5" imgW="5829480" imgH="7543800" progId="AcroExch.Document.11">
                  <p:embed/>
                </p:oleObj>
              </mc:Choice>
              <mc:Fallback>
                <p:oleObj name="Acrobat Document" r:id="rId5" imgW="5829480" imgH="754380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8425" y="98425"/>
                        <a:ext cx="3140075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1AE58DF2-0C52-40F1-820F-E59205F8D59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6831096"/>
              </p:ext>
            </p:extLst>
          </p:nvPr>
        </p:nvGraphicFramePr>
        <p:xfrm>
          <a:off x="5430308" y="632764"/>
          <a:ext cx="3140075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9" name="Acrobat Document" r:id="rId7" imgW="5829480" imgH="7543800" progId="AcroExch.Document.11">
                  <p:embed/>
                </p:oleObj>
              </mc:Choice>
              <mc:Fallback>
                <p:oleObj name="Acrobat Document" r:id="rId7" imgW="5829480" imgH="754380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430308" y="632764"/>
                        <a:ext cx="3140075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D115454B-01DA-4461-B28E-9BE78B74423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146944"/>
              </p:ext>
            </p:extLst>
          </p:nvPr>
        </p:nvGraphicFramePr>
        <p:xfrm>
          <a:off x="5516144" y="577057"/>
          <a:ext cx="3140075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0" name="Acrobat Document" r:id="rId8" imgW="5829103" imgH="7543564" progId="AcroExch.Document.11">
                  <p:embed/>
                </p:oleObj>
              </mc:Choice>
              <mc:Fallback>
                <p:oleObj name="Acrobat Document" r:id="rId8" imgW="5829103" imgH="7543564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516144" y="577057"/>
                        <a:ext cx="3140075" cy="4064000"/>
                      </a:xfrm>
                      <a:prstGeom prst="rect">
                        <a:avLst/>
                      </a:prstGeom>
                      <a:ln>
                        <a:solidFill>
                          <a:schemeClr val="accent1">
                            <a:shade val="50000"/>
                          </a:schemeClr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81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95400"/>
            <a:ext cx="7886700" cy="4881563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1. The districts of respondents’ residence was as follow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2. Age breakdown of respondents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5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C386C3-DC1A-41C6-A4ED-3AED7E5AA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1694587"/>
              </p:ext>
            </p:extLst>
          </p:nvPr>
        </p:nvGraphicFramePr>
        <p:xfrm>
          <a:off x="1081617" y="1752600"/>
          <a:ext cx="3200400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231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1112169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Respondent district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Colombo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48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Gampaha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1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 err="1"/>
                        <a:t>Kalutara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7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767197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 err="1"/>
                        <a:t>Ratnapura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4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157908"/>
                  </a:ext>
                </a:extLst>
              </a:tr>
            </a:tbl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667" y="392113"/>
            <a:ext cx="7886700" cy="739774"/>
          </a:xfrm>
        </p:spPr>
        <p:txBody>
          <a:bodyPr/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23764FB-CA36-4776-8D49-FC2AE07E2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07149"/>
              </p:ext>
            </p:extLst>
          </p:nvPr>
        </p:nvGraphicFramePr>
        <p:xfrm>
          <a:off x="1143000" y="4267200"/>
          <a:ext cx="3657600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5916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1115842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  <a:gridCol w="1115842">
                  <a:extLst>
                    <a:ext uri="{9D8B030D-6E8A-4147-A177-3AD203B41FA5}">
                      <a16:colId xmlns:a16="http://schemas.microsoft.com/office/drawing/2014/main" val="3510733391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Age of respondent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Number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&lt; 2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0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4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 20-3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28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9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31-4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21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767197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&gt; 40 </a:t>
                      </a:r>
                      <a:r>
                        <a:rPr lang="en-GB" sz="1800" dirty="0" err="1"/>
                        <a:t>yr</a:t>
                      </a:r>
                      <a:r>
                        <a:rPr lang="en-GB" sz="1800" dirty="0"/>
                        <a:t>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2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7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157908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D9AA3AAC-0018-46CA-9D59-464FC00625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98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491" y="753693"/>
            <a:ext cx="8108509" cy="504507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3.  Awareness of colour coding regulation for beverages</a:t>
            </a:r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4. Awareness of different beverage types covered by the regulation</a:t>
            </a:r>
          </a:p>
          <a:p>
            <a:pPr>
              <a:buAutoNum type="arabicPeriod" startAt="4"/>
            </a:pPr>
            <a:endParaRPr lang="en-GB" dirty="0"/>
          </a:p>
          <a:p>
            <a:pPr>
              <a:buAutoNum type="arabicPeriod" startAt="4"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6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C386C3-DC1A-41C6-A4ED-3AED7E5AA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211646"/>
              </p:ext>
            </p:extLst>
          </p:nvPr>
        </p:nvGraphicFramePr>
        <p:xfrm>
          <a:off x="1039319" y="1296651"/>
          <a:ext cx="220980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5880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883920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Awareness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Ye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68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 No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2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08257"/>
            <a:ext cx="7886700" cy="497643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23764FB-CA36-4776-8D49-FC2AE07E2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67080"/>
              </p:ext>
            </p:extLst>
          </p:nvPr>
        </p:nvGraphicFramePr>
        <p:xfrm>
          <a:off x="894740" y="4649675"/>
          <a:ext cx="3124199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4362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1089837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Awareness of types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Ye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 No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0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4DA51A18-37AA-40DF-A797-6D2BB1DEC7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388" y="5581298"/>
            <a:ext cx="1352002" cy="886968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8884ED3-D23D-42B6-9E7F-4D61509A7A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458078"/>
              </p:ext>
            </p:extLst>
          </p:nvPr>
        </p:nvGraphicFramePr>
        <p:xfrm>
          <a:off x="3733800" y="1296651"/>
          <a:ext cx="2895600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421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1271179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556591">
                <a:tc>
                  <a:txBody>
                    <a:bodyPr/>
                    <a:lstStyle/>
                    <a:p>
                      <a:r>
                        <a:rPr lang="en-GB" sz="1800" dirty="0"/>
                        <a:t>Age of respondent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 not aware 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301561">
                <a:tc>
                  <a:txBody>
                    <a:bodyPr/>
                    <a:lstStyle/>
                    <a:p>
                      <a:r>
                        <a:rPr lang="en-GB" sz="1800" dirty="0"/>
                        <a:t>&lt; 2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5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r>
                        <a:rPr lang="en-GB" sz="1800" dirty="0"/>
                        <a:t> 20-3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48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r>
                        <a:rPr lang="en-GB" sz="1800" dirty="0"/>
                        <a:t>31-4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8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7671976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r>
                        <a:rPr lang="en-GB" sz="1800" dirty="0"/>
                        <a:t>&gt; 40 </a:t>
                      </a:r>
                      <a:r>
                        <a:rPr lang="en-GB" sz="1800" dirty="0" err="1"/>
                        <a:t>yr</a:t>
                      </a:r>
                      <a:r>
                        <a:rPr lang="en-GB" sz="1800" dirty="0"/>
                        <a:t>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2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157908"/>
                  </a:ext>
                </a:extLst>
              </a:tr>
            </a:tbl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DB53B49-C529-4B8E-9F6D-78A1C8BBDC3F}"/>
              </a:ext>
            </a:extLst>
          </p:cNvPr>
          <p:cNvSpPr/>
          <p:nvPr/>
        </p:nvSpPr>
        <p:spPr>
          <a:xfrm>
            <a:off x="5195455" y="1967211"/>
            <a:ext cx="762000" cy="762000"/>
          </a:xfrm>
          <a:prstGeom prst="ellipse">
            <a:avLst/>
          </a:prstGeom>
          <a:solidFill>
            <a:schemeClr val="accent2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13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004A27-0CF5-470B-BBA0-B1B3416B74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6800"/>
            <a:ext cx="7886700" cy="435133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5. Method of knowing the regulation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6. Knowledge of colour code with highest sugar level</a:t>
            </a:r>
          </a:p>
          <a:p>
            <a:pPr marL="0" indent="0">
              <a:buNone/>
            </a:pP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119C9A-DE70-4E97-943A-6ACCDC130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7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E7F5EDB-ED25-46E0-8875-C73C4DE9D0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7803526"/>
              </p:ext>
            </p:extLst>
          </p:nvPr>
        </p:nvGraphicFramePr>
        <p:xfrm>
          <a:off x="914400" y="1600200"/>
          <a:ext cx="3695700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165">
                  <a:extLst>
                    <a:ext uri="{9D8B030D-6E8A-4147-A177-3AD203B41FA5}">
                      <a16:colId xmlns:a16="http://schemas.microsoft.com/office/drawing/2014/main" val="704318441"/>
                    </a:ext>
                  </a:extLst>
                </a:gridCol>
                <a:gridCol w="1243535">
                  <a:extLst>
                    <a:ext uri="{9D8B030D-6E8A-4147-A177-3AD203B41FA5}">
                      <a16:colId xmlns:a16="http://schemas.microsoft.com/office/drawing/2014/main" val="2972582361"/>
                    </a:ext>
                  </a:extLst>
                </a:gridCol>
              </a:tblGrid>
              <a:tr h="292014">
                <a:tc>
                  <a:txBody>
                    <a:bodyPr/>
                    <a:lstStyle/>
                    <a:p>
                      <a:r>
                        <a:rPr lang="en-GB" sz="1800" dirty="0"/>
                        <a:t>Awareness method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5130248"/>
                  </a:ext>
                </a:extLst>
              </a:tr>
              <a:tr h="292014">
                <a:tc>
                  <a:txBody>
                    <a:bodyPr/>
                    <a:lstStyle/>
                    <a:p>
                      <a:r>
                        <a:rPr lang="en-GB" sz="1800" dirty="0"/>
                        <a:t>Newspapers &amp; TV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4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412233"/>
                  </a:ext>
                </a:extLst>
              </a:tr>
              <a:tr h="292014">
                <a:tc>
                  <a:txBody>
                    <a:bodyPr/>
                    <a:lstStyle/>
                    <a:p>
                      <a:r>
                        <a:rPr lang="en-GB" sz="1800" dirty="0"/>
                        <a:t>Gazette notifications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3438"/>
                  </a:ext>
                </a:extLst>
              </a:tr>
              <a:tr h="292014">
                <a:tc>
                  <a:txBody>
                    <a:bodyPr/>
                    <a:lstStyle/>
                    <a:p>
                      <a:r>
                        <a:rPr lang="en-GB" sz="1800" dirty="0"/>
                        <a:t>Label display on beverage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8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2680918"/>
                  </a:ext>
                </a:extLst>
              </a:tr>
              <a:tr h="292014">
                <a:tc>
                  <a:txBody>
                    <a:bodyPr/>
                    <a:lstStyle/>
                    <a:p>
                      <a:r>
                        <a:rPr lang="en-GB" sz="1800" dirty="0"/>
                        <a:t>Any other means *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372137"/>
                  </a:ext>
                </a:extLst>
              </a:tr>
            </a:tbl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EA330687-4BDE-4396-A0E7-114FCD08B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08257"/>
            <a:ext cx="7886700" cy="497643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F161F58-D6E6-4D3E-8B23-0F7158C9E6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11214"/>
              </p:ext>
            </p:extLst>
          </p:nvPr>
        </p:nvGraphicFramePr>
        <p:xfrm>
          <a:off x="914400" y="4681758"/>
          <a:ext cx="3695700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3147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972553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Knowledge on highest sugar level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Identified Red cod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98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 did not identify Red cod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2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3C9D73E-FBB7-45B6-ADE4-B57F401063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566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762000"/>
            <a:ext cx="7886700" cy="518080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7.  Is purchase and consumption based on colour code on beverages?</a:t>
            </a:r>
          </a:p>
          <a:p>
            <a:pPr>
              <a:buAutoNum type="arabicPeriod" startAt="7"/>
            </a:pPr>
            <a:endParaRPr lang="en-GB" dirty="0"/>
          </a:p>
          <a:p>
            <a:pPr>
              <a:buAutoNum type="arabicPeriod" startAt="7"/>
            </a:pPr>
            <a:endParaRPr lang="en-GB" dirty="0"/>
          </a:p>
          <a:p>
            <a:pPr>
              <a:buAutoNum type="arabicPeriod" startAt="7"/>
            </a:pPr>
            <a:endParaRPr lang="en-GB" dirty="0"/>
          </a:p>
          <a:p>
            <a:pPr>
              <a:buAutoNum type="arabicPeriod" startAt="7"/>
            </a:pPr>
            <a:endParaRPr lang="en-GB" dirty="0"/>
          </a:p>
          <a:p>
            <a:pPr>
              <a:buAutoNum type="arabicPeriod" startAt="7"/>
            </a:pPr>
            <a:endParaRPr lang="en-GB" dirty="0"/>
          </a:p>
          <a:p>
            <a:pPr marL="0" indent="0">
              <a:buNone/>
            </a:pPr>
            <a:r>
              <a:rPr lang="en-GB" dirty="0"/>
              <a:t>8.  Reduced consuming any beverages since this colour code regulation?</a:t>
            </a:r>
          </a:p>
          <a:p>
            <a:pPr>
              <a:buAutoNum type="arabicPeriod" startAt="8"/>
            </a:pPr>
            <a:endParaRPr lang="en-GB" dirty="0"/>
          </a:p>
          <a:p>
            <a:pPr>
              <a:buAutoNum type="arabicPeriod" startAt="8"/>
            </a:pPr>
            <a:endParaRPr lang="en-GB" dirty="0"/>
          </a:p>
          <a:p>
            <a:pPr>
              <a:buAutoNum type="arabicPeriod" startAt="8"/>
            </a:pP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8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082" y="167692"/>
            <a:ext cx="7886700" cy="396584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23764FB-CA36-4776-8D49-FC2AE07E2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54007"/>
              </p:ext>
            </p:extLst>
          </p:nvPr>
        </p:nvGraphicFramePr>
        <p:xfrm>
          <a:off x="720435" y="4059071"/>
          <a:ext cx="3622965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7582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615383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Consumption reduction?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Yes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54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 No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46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EEC362F-BFEB-41D8-8FF5-96801562C1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63A3DE0F-A945-45A1-93C8-F89B4AA36E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417224"/>
              </p:ext>
            </p:extLst>
          </p:nvPr>
        </p:nvGraphicFramePr>
        <p:xfrm>
          <a:off x="685800" y="1221575"/>
          <a:ext cx="4572000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7800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3124200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556591">
                <a:tc>
                  <a:txBody>
                    <a:bodyPr/>
                    <a:lstStyle/>
                    <a:p>
                      <a:r>
                        <a:rPr lang="en-GB" sz="1800" dirty="0"/>
                        <a:t>Age of respondent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 not considering colour code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301561">
                <a:tc>
                  <a:txBody>
                    <a:bodyPr/>
                    <a:lstStyle/>
                    <a:p>
                      <a:r>
                        <a:rPr lang="en-GB" sz="1800" dirty="0"/>
                        <a:t>&lt; 2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22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r>
                        <a:rPr lang="en-GB" sz="1800" dirty="0"/>
                        <a:t> 20-3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1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r>
                        <a:rPr lang="en-GB" sz="1800" dirty="0"/>
                        <a:t>31-40 </a:t>
                      </a:r>
                      <a:r>
                        <a:rPr lang="en-GB" sz="1800" dirty="0" err="1"/>
                        <a:t>y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35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7671976"/>
                  </a:ext>
                </a:extLst>
              </a:tr>
              <a:tr h="318052">
                <a:tc>
                  <a:txBody>
                    <a:bodyPr/>
                    <a:lstStyle/>
                    <a:p>
                      <a:r>
                        <a:rPr lang="en-GB" sz="1800" dirty="0"/>
                        <a:t>&gt; 40 </a:t>
                      </a:r>
                      <a:r>
                        <a:rPr lang="en-GB" sz="1800" dirty="0" err="1"/>
                        <a:t>yr</a:t>
                      </a:r>
                      <a:r>
                        <a:rPr lang="en-GB" sz="1800" dirty="0"/>
                        <a:t>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7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5157908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0F3F3B79-F2A2-4EF3-B1C7-1BA414F2F05C}"/>
              </a:ext>
            </a:extLst>
          </p:cNvPr>
          <p:cNvSpPr/>
          <p:nvPr/>
        </p:nvSpPr>
        <p:spPr>
          <a:xfrm>
            <a:off x="1981200" y="1905000"/>
            <a:ext cx="762000" cy="1130135"/>
          </a:xfrm>
          <a:prstGeom prst="ellipse">
            <a:avLst/>
          </a:prstGeom>
          <a:solidFill>
            <a:schemeClr val="accent2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C73176DE-B12F-4E41-9AEE-912F74A721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1185009"/>
              </p:ext>
            </p:extLst>
          </p:nvPr>
        </p:nvGraphicFramePr>
        <p:xfrm>
          <a:off x="5605599" y="1310640"/>
          <a:ext cx="2809601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5201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2014400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Consider colour code?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Ye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76 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 No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24 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4275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95400"/>
            <a:ext cx="7886700" cy="5180808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9. Will colour coding system be helpful to the population to maintain health?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10.  Do you wish other food products to have colour coding?  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C386C3-DC1A-41C6-A4ED-3AED7E5AA8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071551"/>
              </p:ext>
            </p:extLst>
          </p:nvPr>
        </p:nvGraphicFramePr>
        <p:xfrm>
          <a:off x="990600" y="1747044"/>
          <a:ext cx="4648200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9825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968375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259080">
                <a:tc>
                  <a:txBody>
                    <a:bodyPr/>
                    <a:lstStyle/>
                    <a:p>
                      <a:r>
                        <a:rPr lang="en-GB" sz="1800" dirty="0"/>
                        <a:t>Is colour coding system helpful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Ye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85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GB" sz="1800" dirty="0"/>
                        <a:t>No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5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667" y="392113"/>
            <a:ext cx="7886700" cy="739774"/>
          </a:xfrm>
        </p:spPr>
        <p:txBody>
          <a:bodyPr/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23764FB-CA36-4776-8D49-FC2AE07E2E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689722"/>
              </p:ext>
            </p:extLst>
          </p:nvPr>
        </p:nvGraphicFramePr>
        <p:xfrm>
          <a:off x="1143000" y="3886200"/>
          <a:ext cx="4495800" cy="1417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9316">
                  <a:extLst>
                    <a:ext uri="{9D8B030D-6E8A-4147-A177-3AD203B41FA5}">
                      <a16:colId xmlns:a16="http://schemas.microsoft.com/office/drawing/2014/main" val="2917078383"/>
                    </a:ext>
                  </a:extLst>
                </a:gridCol>
                <a:gridCol w="946484">
                  <a:extLst>
                    <a:ext uri="{9D8B030D-6E8A-4147-A177-3AD203B41FA5}">
                      <a16:colId xmlns:a16="http://schemas.microsoft.com/office/drawing/2014/main" val="4044574067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r>
                        <a:rPr lang="en-GB" sz="1800" dirty="0"/>
                        <a:t>Colour coding for other food?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%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574507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Yes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10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540247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GB" sz="1800" dirty="0"/>
                        <a:t> No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0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493331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EEC362F-BFEB-41D8-8FF5-96801562C1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85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304800" y="1219200"/>
            <a:ext cx="8610600" cy="49530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Introduction of count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Background to colour coding regulations for beverag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Objectives of stud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Method and resul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Finding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Recommendations 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667" y="392113"/>
            <a:ext cx="7886700" cy="739774"/>
          </a:xfrm>
        </p:spPr>
        <p:txBody>
          <a:bodyPr/>
          <a:lstStyle/>
          <a:p>
            <a:r>
              <a:rPr lang="en-GB" b="1" dirty="0"/>
              <a:t>Discussion Points 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294" y="1047526"/>
            <a:ext cx="7886700" cy="51808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/>
              <a:t>In Depth Intervi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terview with respondent who didn’t show behaviour change said that a healthy diet is based on overall balanced food intake, not just controlling sugar intake, hence not willing to change beverages taken purely on impu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terview with respondent who changed behaviour said colour code helps to know which drink has more sugar, and when purchasing a drink, a choice can be made to select one with less sug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667" y="392113"/>
            <a:ext cx="7886700" cy="411510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Method &amp; Results</a:t>
            </a:r>
            <a:endParaRPr lang="en-US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EC362F-BFEB-41D8-8FF5-96801562C1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16D270D-BE81-47FD-9D1A-5538AA0443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5647" y="4925396"/>
            <a:ext cx="1471993" cy="142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991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19200"/>
            <a:ext cx="8001000" cy="327490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Were consumers aware of colour coding system for beverages? </a:t>
            </a:r>
            <a:r>
              <a:rPr lang="en-GB" sz="2400" dirty="0">
                <a:highlight>
                  <a:srgbClr val="FFFF00"/>
                </a:highlight>
              </a:rPr>
              <a:t>Y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Was the colour coding system able to create behaviour changes in population? ` 	</a:t>
            </a:r>
            <a:r>
              <a:rPr lang="en-GB" sz="2400" dirty="0">
                <a:highlight>
                  <a:srgbClr val="FFFF00"/>
                </a:highlight>
              </a:rPr>
              <a:t>Not at satisfactory leve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research on behaviour change and healthy foods (Chance et al 2014) explains that long term goals/ preferences are thwarted by immediate desires</a:t>
            </a:r>
          </a:p>
          <a:p>
            <a:pPr marL="1812925" lvl="5" indent="-285750"/>
            <a:endParaRPr lang="en-GB" sz="2400" dirty="0"/>
          </a:p>
          <a:p>
            <a:pPr marL="0" indent="0">
              <a:buNone/>
            </a:pP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1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91356"/>
            <a:ext cx="7886700" cy="739774"/>
          </a:xfrm>
        </p:spPr>
        <p:txBody>
          <a:bodyPr/>
          <a:lstStyle/>
          <a:p>
            <a:r>
              <a:rPr lang="en-GB" b="1" dirty="0"/>
              <a:t>Findings</a:t>
            </a:r>
            <a:endParaRPr lang="en-US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EC362F-BFEB-41D8-8FF5-96801562C1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10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BE592F-352A-49DE-960B-D145EAAD2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2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DE7181E-6C6F-4EA4-9111-642FD52B95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7200552"/>
              </p:ext>
            </p:extLst>
          </p:nvPr>
        </p:nvGraphicFramePr>
        <p:xfrm>
          <a:off x="2812720" y="1698028"/>
          <a:ext cx="2701924" cy="911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3FB9627-D3E4-42C3-BAC5-D2D4DD0D828C}"/>
              </a:ext>
            </a:extLst>
          </p:cNvPr>
          <p:cNvSpPr txBox="1"/>
          <p:nvPr/>
        </p:nvSpPr>
        <p:spPr>
          <a:xfrm>
            <a:off x="6628434" y="6106876"/>
            <a:ext cx="1753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Eat healthy </a:t>
            </a:r>
            <a:endParaRPr lang="en-US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19619B-A15C-4074-B5C0-317B97F0ADA6}"/>
              </a:ext>
            </a:extLst>
          </p:cNvPr>
          <p:cNvSpPr txBox="1"/>
          <p:nvPr/>
        </p:nvSpPr>
        <p:spPr>
          <a:xfrm>
            <a:off x="805243" y="3938891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Eat unhealthy </a:t>
            </a:r>
            <a:endParaRPr lang="en-US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5B5E9D-5266-4699-A260-63E27E3D4BB6}"/>
              </a:ext>
            </a:extLst>
          </p:cNvPr>
          <p:cNvSpPr txBox="1"/>
          <p:nvPr/>
        </p:nvSpPr>
        <p:spPr>
          <a:xfrm>
            <a:off x="2735911" y="3892725"/>
            <a:ext cx="15090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Impulse </a:t>
            </a:r>
          </a:p>
          <a:p>
            <a:r>
              <a:rPr lang="en-GB" sz="1600" dirty="0">
                <a:solidFill>
                  <a:srgbClr val="FF0000"/>
                </a:solidFill>
              </a:rPr>
              <a:t>Act without thinking </a:t>
            </a:r>
            <a:endParaRPr lang="en-US" sz="1600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FA2D3B-4BC3-4266-91B9-3A69104B7311}"/>
              </a:ext>
            </a:extLst>
          </p:cNvPr>
          <p:cNvSpPr txBox="1"/>
          <p:nvPr/>
        </p:nvSpPr>
        <p:spPr>
          <a:xfrm>
            <a:off x="4131671" y="3274099"/>
            <a:ext cx="1902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dirty="0">
                <a:solidFill>
                  <a:srgbClr val="FF0000"/>
                </a:solidFill>
              </a:rPr>
              <a:t>Control Impulse </a:t>
            </a:r>
          </a:p>
          <a:p>
            <a:pPr algn="r"/>
            <a:r>
              <a:rPr lang="en-GB" sz="1600" dirty="0">
                <a:solidFill>
                  <a:srgbClr val="FF0000"/>
                </a:solidFill>
              </a:rPr>
              <a:t>Take time to decide/ act </a:t>
            </a:r>
            <a:endParaRPr lang="en-US" sz="1600" dirty="0">
              <a:solidFill>
                <a:srgbClr val="FF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66F799-0BDD-4248-8E3B-F95661DCF8EF}"/>
              </a:ext>
            </a:extLst>
          </p:cNvPr>
          <p:cNvCxnSpPr>
            <a:cxnSpLocks/>
          </p:cNvCxnSpPr>
          <p:nvPr/>
        </p:nvCxnSpPr>
        <p:spPr>
          <a:xfrm>
            <a:off x="4248341" y="533400"/>
            <a:ext cx="58490" cy="59428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0BCEC64-5B18-4A11-9223-037A91F9708A}"/>
              </a:ext>
            </a:extLst>
          </p:cNvPr>
          <p:cNvSpPr txBox="1"/>
          <p:nvPr/>
        </p:nvSpPr>
        <p:spPr>
          <a:xfrm>
            <a:off x="885959" y="609600"/>
            <a:ext cx="259080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/>
              <a:t>Immediate desires 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0EF384-3AEB-4751-A655-E2496C9EAA58}"/>
              </a:ext>
            </a:extLst>
          </p:cNvPr>
          <p:cNvSpPr txBox="1"/>
          <p:nvPr/>
        </p:nvSpPr>
        <p:spPr>
          <a:xfrm>
            <a:off x="4892864" y="609600"/>
            <a:ext cx="378451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/>
              <a:t>Long term goals and preferences  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20A6CCE-A603-4B51-A6F3-84B572D7E0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35062">
            <a:off x="2768804" y="5096740"/>
            <a:ext cx="2790436" cy="1569620"/>
          </a:xfrm>
          <a:prstGeom prst="rect">
            <a:avLst/>
          </a:prstGeom>
        </p:spPr>
      </p:pic>
      <p:sp>
        <p:nvSpPr>
          <p:cNvPr id="26" name="Thought Bubble: Cloud 25">
            <a:extLst>
              <a:ext uri="{FF2B5EF4-FFF2-40B4-BE49-F238E27FC236}">
                <a16:creationId xmlns:a16="http://schemas.microsoft.com/office/drawing/2014/main" id="{051C093C-4EDB-46CD-BCE7-9A3C1399CB01}"/>
              </a:ext>
            </a:extLst>
          </p:cNvPr>
          <p:cNvSpPr/>
          <p:nvPr/>
        </p:nvSpPr>
        <p:spPr>
          <a:xfrm>
            <a:off x="5944667" y="1144162"/>
            <a:ext cx="2732707" cy="2766515"/>
          </a:xfrm>
          <a:prstGeom prst="cloudCallout">
            <a:avLst>
              <a:gd name="adj1" fmla="val -152124"/>
              <a:gd name="adj2" fmla="val 39334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E7D1B36-EF9E-4DC0-ACD7-61E2333EAFF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714" y="1521961"/>
            <a:ext cx="1099956" cy="75787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32BC483-C843-467D-8842-4BC316DFF0D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6763" y="4695913"/>
            <a:ext cx="1572202" cy="104579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F4048543-B91C-4054-B1E8-08355338269F}"/>
              </a:ext>
            </a:extLst>
          </p:cNvPr>
          <p:cNvSpPr txBox="1"/>
          <p:nvPr/>
        </p:nvSpPr>
        <p:spPr>
          <a:xfrm>
            <a:off x="5841688" y="4893592"/>
            <a:ext cx="17535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Behaviour change interventions</a:t>
            </a:r>
            <a:endParaRPr lang="en-US" b="1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A2E2E51-0645-4B41-AB19-BF7981DABE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14" y="2324750"/>
            <a:ext cx="2478692" cy="15667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E08919-CBBA-48F4-BA80-20E679272CD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61" y="2328448"/>
            <a:ext cx="1112277" cy="1112277"/>
          </a:xfrm>
          <a:prstGeom prst="rect">
            <a:avLst/>
          </a:prstGeom>
        </p:spPr>
      </p:pic>
      <p:sp>
        <p:nvSpPr>
          <p:cNvPr id="5" name="Arrow: Down 4">
            <a:extLst>
              <a:ext uri="{FF2B5EF4-FFF2-40B4-BE49-F238E27FC236}">
                <a16:creationId xmlns:a16="http://schemas.microsoft.com/office/drawing/2014/main" id="{B3100375-1264-4BD5-B13A-3556C8DF62DD}"/>
              </a:ext>
            </a:extLst>
          </p:cNvPr>
          <p:cNvSpPr/>
          <p:nvPr/>
        </p:nvSpPr>
        <p:spPr>
          <a:xfrm rot="3184311">
            <a:off x="7656208" y="3575279"/>
            <a:ext cx="496924" cy="1702964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68BF6E-1090-473C-9ACC-B80F5DCA741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343" y="1027206"/>
            <a:ext cx="1617857" cy="808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088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250" y="847945"/>
            <a:ext cx="7886700" cy="1514255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More grass root level activities such as community training programs, school curriculum changes, behaviour change activity programs needed to generate behaviour changes in sugar reduct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7886700" cy="446087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Recommendations </a:t>
            </a:r>
            <a:endParaRPr lang="en-US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EC362F-BFEB-41D8-8FF5-96801562C1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A130F5A-AB4F-4815-9604-83B9F24531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250" y="2580409"/>
            <a:ext cx="4838700" cy="430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271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47D18-2605-4207-8245-BA0ACC7BD1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6250" y="847945"/>
            <a:ext cx="7886700" cy="518080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/>
              <a:t>1. National multi-sectoral action plan for the prevention and control of non communicable diseases 2016 -2020</a:t>
            </a:r>
          </a:p>
          <a:p>
            <a:pPr marL="0" indent="0">
              <a:buNone/>
            </a:pPr>
            <a:r>
              <a:rPr lang="en-GB" sz="2400" dirty="0"/>
              <a:t>2. Annual Health Bulletin of Sri Lanka (2015) published in 2017</a:t>
            </a:r>
          </a:p>
          <a:p>
            <a:pPr marL="0" indent="0">
              <a:buNone/>
            </a:pPr>
            <a:r>
              <a:rPr lang="en-GB" sz="2400" dirty="0"/>
              <a:t>3. </a:t>
            </a:r>
            <a:r>
              <a:rPr lang="en-GB" sz="2400" dirty="0" err="1"/>
              <a:t>Katulanda</a:t>
            </a:r>
            <a:r>
              <a:rPr lang="en-GB" sz="2400" dirty="0"/>
              <a:t> et al, 2011. Province and ethnic specific prevalence of diabetes among Sri Lankan adults, Sri Lanka Journal of Diabetes Endocrinology and Metabolism</a:t>
            </a:r>
          </a:p>
          <a:p>
            <a:pPr marL="0" indent="0">
              <a:buNone/>
            </a:pPr>
            <a:r>
              <a:rPr lang="en-GB" sz="2400" dirty="0"/>
              <a:t>4. Chance et al, 2014. Why choosing healthy food is hard, and how to help: presenting the 4Ps framework for behaviour change, Cust. Need. and </a:t>
            </a:r>
            <a:r>
              <a:rPr lang="en-GB" sz="2400" dirty="0" err="1"/>
              <a:t>Solut</a:t>
            </a:r>
            <a:r>
              <a:rPr lang="en-GB" sz="2400" dirty="0"/>
              <a:t> 1: 253-262</a:t>
            </a:r>
          </a:p>
          <a:p>
            <a:pPr marL="0" indent="0">
              <a:buNone/>
            </a:pPr>
            <a:r>
              <a:rPr lang="en-GB" sz="2400" dirty="0"/>
              <a:t>5. Food (colour coding for sugar levels) regulations 2016</a:t>
            </a:r>
          </a:p>
          <a:p>
            <a:pPr marL="0" indent="0">
              <a:buNone/>
            </a:pPr>
            <a:r>
              <a:rPr lang="en-GB" sz="2400" dirty="0"/>
              <a:t>6. Central Bank Annual Report Key Indictors 2017</a:t>
            </a:r>
          </a:p>
          <a:p>
            <a:endParaRPr lang="en-GB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86CF81-E706-4156-B875-2E2D5883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C0B365-32CF-4260-A678-325987727875}" type="slidenum">
              <a:rPr lang="en-GB" smtClean="0">
                <a:solidFill>
                  <a:prstClr val="black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4</a:t>
            </a:fld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64C9249-69D1-4D5D-933F-6B60FC4E4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7886700" cy="446087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References</a:t>
            </a:r>
            <a:endParaRPr lang="en-US" b="1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EC362F-BFEB-41D8-8FF5-96801562C1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1520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5463" y="661987"/>
            <a:ext cx="5734050" cy="545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576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64543A8-CE51-4D10-8580-B8B2C164BE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667" y="1138513"/>
            <a:ext cx="2236289" cy="2900087"/>
          </a:xfrm>
        </p:spPr>
      </p:pic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667" y="275570"/>
            <a:ext cx="7886700" cy="739774"/>
          </a:xfrm>
        </p:spPr>
        <p:txBody>
          <a:bodyPr/>
          <a:lstStyle/>
          <a:p>
            <a:r>
              <a:rPr lang="en-GB" b="1" dirty="0"/>
              <a:t>Introduction of Country 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sp>
        <p:nvSpPr>
          <p:cNvPr id="9" name="Content Placeholder 21">
            <a:extLst>
              <a:ext uri="{FF2B5EF4-FFF2-40B4-BE49-F238E27FC236}">
                <a16:creationId xmlns:a16="http://schemas.microsoft.com/office/drawing/2014/main" id="{6744FBA6-C99E-4160-88F1-C30C7BDC9D85}"/>
              </a:ext>
            </a:extLst>
          </p:cNvPr>
          <p:cNvSpPr txBox="1">
            <a:spLocks/>
          </p:cNvSpPr>
          <p:nvPr/>
        </p:nvSpPr>
        <p:spPr>
          <a:xfrm>
            <a:off x="2630255" y="914400"/>
            <a:ext cx="6285145" cy="525780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58775" indent="-358775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+mj-lt"/>
              <a:buAutoNum type="arabicPeriod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1675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0450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19225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8000" indent="-3429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 small beautiful island in Indian ocean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Capital: Colombo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rea: </a:t>
            </a:r>
            <a:r>
              <a:rPr lang="en-GB" sz="2400" dirty="0" err="1">
                <a:solidFill>
                  <a:srgbClr val="002060"/>
                </a:solidFill>
              </a:rPr>
              <a:t>Apprx</a:t>
            </a:r>
            <a:r>
              <a:rPr lang="en-GB" sz="2400" dirty="0">
                <a:solidFill>
                  <a:srgbClr val="002060"/>
                </a:solidFill>
              </a:rPr>
              <a:t> 62 700 </a:t>
            </a:r>
            <a:r>
              <a:rPr lang="en-GB" sz="2400" dirty="0" err="1">
                <a:solidFill>
                  <a:srgbClr val="002060"/>
                </a:solidFill>
              </a:rPr>
              <a:t>sq</a:t>
            </a:r>
            <a:r>
              <a:rPr lang="en-GB" sz="2400" dirty="0">
                <a:solidFill>
                  <a:srgbClr val="002060"/>
                </a:solidFill>
              </a:rPr>
              <a:t> km 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Population: 21.4 </a:t>
            </a:r>
            <a:r>
              <a:rPr lang="en-GB" sz="2400" dirty="0" err="1">
                <a:solidFill>
                  <a:srgbClr val="002060"/>
                </a:solidFill>
              </a:rPr>
              <a:t>Mn</a:t>
            </a:r>
            <a:r>
              <a:rPr lang="en-GB" sz="2400" dirty="0">
                <a:solidFill>
                  <a:srgbClr val="002060"/>
                </a:solidFill>
              </a:rPr>
              <a:t> (2017) 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Population density: 342 persons per </a:t>
            </a:r>
            <a:r>
              <a:rPr lang="en-GB" sz="2400" dirty="0" err="1">
                <a:solidFill>
                  <a:srgbClr val="002060"/>
                </a:solidFill>
              </a:rPr>
              <a:t>sq</a:t>
            </a:r>
            <a:r>
              <a:rPr lang="en-GB" sz="2400" dirty="0">
                <a:solidFill>
                  <a:srgbClr val="002060"/>
                </a:solidFill>
              </a:rPr>
              <a:t> km (2017)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GDP: 87.2 </a:t>
            </a:r>
            <a:r>
              <a:rPr lang="en-GB" sz="2400" dirty="0" err="1">
                <a:solidFill>
                  <a:srgbClr val="002060"/>
                </a:solidFill>
              </a:rPr>
              <a:t>Bn</a:t>
            </a:r>
            <a:r>
              <a:rPr lang="en-GB" sz="2400" dirty="0">
                <a:solidFill>
                  <a:srgbClr val="002060"/>
                </a:solidFill>
              </a:rPr>
              <a:t> USD (2017)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GDP per capita: 4065 USD (2017)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Literacy rate: 95.7%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Life expectancy at birth: males 72, females 78.6 (2013, 2011)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Free health care system:  with 631 state hospitals (2015)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With 80 581 hospital beds (2015)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2060"/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2400" dirty="0">
              <a:solidFill>
                <a:srgbClr val="00206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E3E30D-5A25-416C-A4A5-C7F3A439C665}"/>
              </a:ext>
            </a:extLst>
          </p:cNvPr>
          <p:cNvSpPr txBox="1"/>
          <p:nvPr/>
        </p:nvSpPr>
        <p:spPr>
          <a:xfrm>
            <a:off x="338667" y="6316151"/>
            <a:ext cx="510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ource: Central Bank Annual Report, Annual Health Bulleti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75968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369680B-6B6A-45B4-A2FC-C94813BD7E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03007">
            <a:off x="527387" y="242057"/>
            <a:ext cx="5919806" cy="25190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05DC18-BC1E-46AE-BB18-18EDBB4039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98723">
            <a:off x="4811895" y="2667846"/>
            <a:ext cx="3742299" cy="25204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525EE1D-00F2-47AD-A1C9-7A12102B08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67013">
            <a:off x="624146" y="2946158"/>
            <a:ext cx="4092102" cy="2737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1464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4648200" y="830311"/>
            <a:ext cx="4008922" cy="5189489"/>
          </a:xfrm>
        </p:spPr>
        <p:txBody>
          <a:bodyPr>
            <a:normAutofit fontScale="77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Sri Lanka has enjoyed open economy for 40 years (since 1977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 transition of socio economic condition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 vast amount of fast food,  convenient food available in marke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Consumption of ‘take away’ convenient foods for dinner has become a trend among urban famil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Increasing affordability among upper and middle classe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More and more convenient food stores coming up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No restriction at the moment on advertising and promo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8606" y="246313"/>
            <a:ext cx="8338334" cy="490085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Background to colour coding regulation for beverages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060" y="5677512"/>
            <a:ext cx="1352002" cy="886968"/>
          </a:xfrm>
          <a:prstGeom prst="rect">
            <a:avLst/>
          </a:prstGeom>
        </p:spPr>
      </p:pic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id="{EAB235A4-74B5-45F9-B411-4254156DB2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9318293"/>
              </p:ext>
            </p:extLst>
          </p:nvPr>
        </p:nvGraphicFramePr>
        <p:xfrm>
          <a:off x="450584" y="830311"/>
          <a:ext cx="4426216" cy="57341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233219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idx="1"/>
          </p:nvPr>
        </p:nvSpPr>
        <p:spPr>
          <a:xfrm>
            <a:off x="462100" y="914400"/>
            <a:ext cx="3505200" cy="4953000"/>
          </a:xfrm>
        </p:spPr>
        <p:txBody>
          <a:bodyPr>
            <a:normAutofit fontScale="77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An increasing tendency of non-communicable diseases (NCD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In 2014, 75% of all annual deaths due to NCD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NCDs (CVD, diabetes, cancers, respiratory diseas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20% of population is either diabetic or pre-diabetic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18.6 % diabetic in Western province (includes Colombo) [2011 National Study]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25.2% population overweigh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9.2% obe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002060"/>
                </a:solidFill>
              </a:rPr>
              <a:t>26.2% centrally obese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8667" y="246815"/>
            <a:ext cx="8338334" cy="739774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Background to colour coding regulation for beverages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B4D1985-7FB0-4A51-92CD-07A87227DA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4736" y="909899"/>
            <a:ext cx="4432265" cy="550621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45FEBE1-92B3-439D-B731-7900A802BC69}"/>
              </a:ext>
            </a:extLst>
          </p:cNvPr>
          <p:cNvSpPr txBox="1"/>
          <p:nvPr/>
        </p:nvSpPr>
        <p:spPr>
          <a:xfrm>
            <a:off x="338667" y="6107956"/>
            <a:ext cx="37761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ource: National Multi-sectoral Action Plan, </a:t>
            </a:r>
            <a:r>
              <a:rPr lang="en-GB" sz="1200" dirty="0" err="1"/>
              <a:t>Katulanda</a:t>
            </a:r>
            <a:r>
              <a:rPr lang="en-GB" sz="1200" dirty="0"/>
              <a:t> et al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31774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1CAD850-127D-413E-9735-906AD6C9E4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012942" y="-178653"/>
            <a:ext cx="5795112" cy="675419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A73F9B-6655-495B-A690-8AC18702AD11}"/>
              </a:ext>
            </a:extLst>
          </p:cNvPr>
          <p:cNvSpPr txBox="1"/>
          <p:nvPr/>
        </p:nvSpPr>
        <p:spPr>
          <a:xfrm>
            <a:off x="533399" y="6164460"/>
            <a:ext cx="609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Source: National Health Bulletin 2015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93051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1CAD850-127D-413E-9735-906AD6C9E4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012942" y="-178653"/>
            <a:ext cx="5795112" cy="675419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8A73F9B-6655-495B-A690-8AC18702AD11}"/>
              </a:ext>
            </a:extLst>
          </p:cNvPr>
          <p:cNvSpPr txBox="1"/>
          <p:nvPr/>
        </p:nvSpPr>
        <p:spPr>
          <a:xfrm>
            <a:off x="533399" y="6204169"/>
            <a:ext cx="6096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ource: National Health Bulletin 2015</a:t>
            </a:r>
            <a:endParaRPr lang="en-US" sz="1200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3BDAAD3-A3FE-411E-9E29-2F72A417AB7B}"/>
              </a:ext>
            </a:extLst>
          </p:cNvPr>
          <p:cNvSpPr/>
          <p:nvPr/>
        </p:nvSpPr>
        <p:spPr>
          <a:xfrm>
            <a:off x="533399" y="2057400"/>
            <a:ext cx="4648201" cy="685800"/>
          </a:xfrm>
          <a:prstGeom prst="ellipse">
            <a:avLst/>
          </a:prstGeom>
          <a:solidFill>
            <a:schemeClr val="accent1">
              <a:alpha val="1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471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152400"/>
            <a:ext cx="8686800" cy="647700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999" y="5585269"/>
            <a:ext cx="1352002" cy="88696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EAB4891-11CD-4933-88D2-021B4EE666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3963" y="223200"/>
            <a:ext cx="4433490" cy="6177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8080A6-9807-492B-97B6-EBB4DF1878D3}"/>
              </a:ext>
            </a:extLst>
          </p:cNvPr>
          <p:cNvSpPr txBox="1"/>
          <p:nvPr/>
        </p:nvSpPr>
        <p:spPr>
          <a:xfrm>
            <a:off x="381000" y="6243000"/>
            <a:ext cx="251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Source: </a:t>
            </a:r>
            <a:r>
              <a:rPr lang="en-GB" sz="1400" dirty="0" err="1"/>
              <a:t>Katulanda</a:t>
            </a:r>
            <a:r>
              <a:rPr lang="en-GB" sz="1400" dirty="0"/>
              <a:t> et al, 2011</a:t>
            </a:r>
            <a:endParaRPr lang="en-US" sz="1400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5432976-E675-4755-BED7-047F0714A809}"/>
              </a:ext>
            </a:extLst>
          </p:cNvPr>
          <p:cNvSpPr/>
          <p:nvPr/>
        </p:nvSpPr>
        <p:spPr>
          <a:xfrm>
            <a:off x="3352800" y="3886200"/>
            <a:ext cx="1447800" cy="1371600"/>
          </a:xfrm>
          <a:prstGeom prst="ellipse">
            <a:avLst/>
          </a:prstGeom>
          <a:solidFill>
            <a:schemeClr val="accent2">
              <a:lumMod val="75000"/>
              <a:alpha val="1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D39945-01BA-48EE-BE51-FC8221CB0DE3}"/>
              </a:ext>
            </a:extLst>
          </p:cNvPr>
          <p:cNvSpPr txBox="1"/>
          <p:nvPr/>
        </p:nvSpPr>
        <p:spPr>
          <a:xfrm>
            <a:off x="381000" y="533400"/>
            <a:ext cx="2971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Diabetes Map of Sri Lanka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Speech Bubble: Oval 3">
            <a:extLst>
              <a:ext uri="{FF2B5EF4-FFF2-40B4-BE49-F238E27FC236}">
                <a16:creationId xmlns:a16="http://schemas.microsoft.com/office/drawing/2014/main" id="{D04AB8F5-3B3F-45F6-80AE-982C88AD648B}"/>
              </a:ext>
            </a:extLst>
          </p:cNvPr>
          <p:cNvSpPr/>
          <p:nvPr/>
        </p:nvSpPr>
        <p:spPr>
          <a:xfrm>
            <a:off x="381000" y="2209800"/>
            <a:ext cx="2043482" cy="1556266"/>
          </a:xfrm>
          <a:prstGeom prst="wedgeEllipseCallout">
            <a:avLst>
              <a:gd name="adj1" fmla="val 79167"/>
              <a:gd name="adj2" fmla="val 83756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18.6% Western Province Population diabetic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076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E84MKrdUOw42ZbUz28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1vKPnx40.ftpVKpEFA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chQvE4Dke8aKNAksh_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YRQDfbTkq8JyWGZimd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4H7NqQ19UGhd0mjLlcx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leOqclnU.sbafWOF5k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M.HgZt0KqYmfs0Xyt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Yph2G1BEGATaTGuVxl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oCINpHqkOx_yvuEFD1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OsLp2kB0GdUOcj8sDb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1GBn93kq4FppIwn9d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1hLsBob0C8IcUkMjdm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JpheV5eUKJZfO3WCve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NjA7vRzk.W3fZWEVss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imY1THIUeZtLGRk_BS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JpheV5eUKJZfO3WCve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NjA7vRzk.W3fZWEVss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n1aJfB1UuSMrAsjJXp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WDoNst5E2KLai47iYN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AEnm2.Ski0RmKfuJUY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dymdu7lESaxZxwTh0F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.xQaUQVEy7s6MpFH7RR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1_interim workshop slides">
  <a:themeElements>
    <a:clrScheme name="interim workshop slides.pp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interim workshop slides.pp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0">
              <a:srgbClr val="243779">
                <a:shade val="30000"/>
                <a:satMod val="115000"/>
              </a:srgbClr>
            </a:gs>
            <a:gs pos="50000">
              <a:srgbClr val="243779">
                <a:shade val="67500"/>
                <a:satMod val="115000"/>
              </a:srgbClr>
            </a:gs>
            <a:gs pos="100000">
              <a:srgbClr val="243779">
                <a:shade val="100000"/>
                <a:satMod val="115000"/>
              </a:srgbClr>
            </a:gs>
          </a:gsLst>
          <a:lin ang="16200000" scaled="1"/>
          <a:tileRect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solidFill>
          <a:schemeClr val="hlink"/>
        </a:solidFill>
        <a:ln w="12700" cap="flat" cmpd="sng" algn="ctr">
          <a:solidFill>
            <a:srgbClr val="243779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 anchor="ctr" anchorCtr="0">
        <a:noAutofit/>
      </a:bodyPr>
      <a:lstStyle>
        <a:defPPr marL="225425" indent="-225425">
          <a:lnSpc>
            <a:spcPct val="125000"/>
          </a:lnSpc>
          <a:spcBef>
            <a:spcPct val="20000"/>
          </a:spcBef>
          <a:buClr>
            <a:srgbClr val="0000FF"/>
          </a:buClr>
          <a:buBlip>
            <a:blip xmlns:r="http://schemas.openxmlformats.org/officeDocument/2006/relationships" r:embed="rId1"/>
          </a:buBlip>
          <a:defRPr kumimoji="0" sz="1600" b="0" i="0" u="none" strike="noStrike" kern="0" cap="none" spc="0" normalizeH="0" baseline="0" noProof="0" dirty="0" smtClean="0">
            <a:ln>
              <a:noFill/>
            </a:ln>
            <a:solidFill>
              <a:srgbClr val="243E88"/>
            </a:solidFill>
            <a:effectLst/>
            <a:uLnTx/>
            <a:uFillTx/>
            <a:latin typeface="Tahoma"/>
            <a:ea typeface="+mn-ea"/>
            <a:cs typeface="+mn-cs"/>
          </a:defRPr>
        </a:defPPr>
      </a:lstStyle>
    </a:txDef>
  </a:objectDefaults>
  <a:extraClrSchemeLst>
    <a:extraClrScheme>
      <a:clrScheme name="interim workshop slides.pp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m workshop slides.pp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erim workshop slides.pp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m workshop slides.pp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m workshop slides.pp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m workshop slides.pp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im workshop slides.pp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Blueprint_CF_XGS180">
  <a:themeElements>
    <a:clrScheme name="4_Blueprint_CF_XGS180 1">
      <a:dk1>
        <a:srgbClr val="000066"/>
      </a:dk1>
      <a:lt1>
        <a:srgbClr val="FFFFFF"/>
      </a:lt1>
      <a:dk2>
        <a:srgbClr val="000080"/>
      </a:dk2>
      <a:lt2>
        <a:srgbClr val="666699"/>
      </a:lt2>
      <a:accent1>
        <a:srgbClr val="33CCCC"/>
      </a:accent1>
      <a:accent2>
        <a:srgbClr val="339966"/>
      </a:accent2>
      <a:accent3>
        <a:srgbClr val="FFFFFF"/>
      </a:accent3>
      <a:accent4>
        <a:srgbClr val="000056"/>
      </a:accent4>
      <a:accent5>
        <a:srgbClr val="ADE2E2"/>
      </a:accent5>
      <a:accent6>
        <a:srgbClr val="2D8A5C"/>
      </a:accent6>
      <a:hlink>
        <a:srgbClr val="487D2B"/>
      </a:hlink>
      <a:folHlink>
        <a:srgbClr val="990033"/>
      </a:folHlink>
    </a:clrScheme>
    <a:fontScheme name="4_Blueprint_CF_XGS180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0" numCol="1" anchor="t" anchorCtr="0" compatLnSpc="1">
        <a:prstTxWarp prst="textNoShape">
          <a:avLst/>
        </a:prstTxWarp>
      </a:bodyPr>
      <a:lstStyle>
        <a:defPPr marL="198438" marR="0" indent="-19685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5000"/>
          <a:buFont typeface="Arial" charset="0"/>
          <a:buChar char="▪"/>
          <a:tabLst/>
          <a:defRPr kumimoji="0" 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0" numCol="1" anchor="t" anchorCtr="0" compatLnSpc="1">
        <a:prstTxWarp prst="textNoShape">
          <a:avLst/>
        </a:prstTxWarp>
      </a:bodyPr>
      <a:lstStyle>
        <a:defPPr marL="198438" marR="0" indent="-19685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5000"/>
          <a:buFont typeface="Arial" charset="0"/>
          <a:buChar char="▪"/>
          <a:tabLst/>
          <a:defRPr kumimoji="0" lang="en-US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4_Blueprint_CF_XGS180 1">
        <a:dk1>
          <a:srgbClr val="000066"/>
        </a:dk1>
        <a:lt1>
          <a:srgbClr val="FFFFFF"/>
        </a:lt1>
        <a:dk2>
          <a:srgbClr val="000080"/>
        </a:dk2>
        <a:lt2>
          <a:srgbClr val="666699"/>
        </a:lt2>
        <a:accent1>
          <a:srgbClr val="33CCCC"/>
        </a:accent1>
        <a:accent2>
          <a:srgbClr val="339966"/>
        </a:accent2>
        <a:accent3>
          <a:srgbClr val="FFFFFF"/>
        </a:accent3>
        <a:accent4>
          <a:srgbClr val="000056"/>
        </a:accent4>
        <a:accent5>
          <a:srgbClr val="ADE2E2"/>
        </a:accent5>
        <a:accent6>
          <a:srgbClr val="2D8A5C"/>
        </a:accent6>
        <a:hlink>
          <a:srgbClr val="487D2B"/>
        </a:hlink>
        <a:folHlink>
          <a:srgbClr val="99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ueprint 5 Steve">
  <a:themeElements>
    <a:clrScheme name="Custom 5">
      <a:dk1>
        <a:srgbClr val="595959"/>
      </a:dk1>
      <a:lt1>
        <a:srgbClr val="FFFFFF"/>
      </a:lt1>
      <a:dk2>
        <a:srgbClr val="F05023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TradeGothic Light"/>
        <a:ea typeface=""/>
        <a:cs typeface=""/>
      </a:majorFont>
      <a:minorFont>
        <a:latin typeface="TradeGothi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GSK Presentation">
  <a:themeElements>
    <a:clrScheme name="GSK">
      <a:dk1>
        <a:sysClr val="windowText" lastClr="000000"/>
      </a:dk1>
      <a:lt1>
        <a:sysClr val="window" lastClr="FFFFFF"/>
      </a:lt1>
      <a:dk2>
        <a:srgbClr val="EE8027"/>
      </a:dk2>
      <a:lt2>
        <a:srgbClr val="99A49C"/>
      </a:lt2>
      <a:accent1>
        <a:srgbClr val="7BAC1F"/>
      </a:accent1>
      <a:accent2>
        <a:srgbClr val="933589"/>
      </a:accent2>
      <a:accent3>
        <a:srgbClr val="E1007A"/>
      </a:accent3>
      <a:accent4>
        <a:srgbClr val="E30045"/>
      </a:accent4>
      <a:accent5>
        <a:srgbClr val="009CD7"/>
      </a:accent5>
      <a:accent6>
        <a:srgbClr val="7BAC1F"/>
      </a:accent6>
      <a:hlink>
        <a:srgbClr val="000000"/>
      </a:hlink>
      <a:folHlink>
        <a:srgbClr val="000000"/>
      </a:folHlink>
    </a:clrScheme>
    <a:fontScheme name="GS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80000" tIns="144000" rIns="180000" bIns="144000" rtlCol="0" anchor="t" anchorCtr="0"/>
      <a:lstStyle>
        <a:defPPr algn="l">
          <a:lnSpc>
            <a:spcPts val="1800"/>
          </a:lnSpc>
          <a:defRPr sz="15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lnSpc>
            <a:spcPts val="1800"/>
          </a:lnSpc>
          <a:defRPr sz="15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03</TotalTime>
  <Words>1128</Words>
  <Application>Microsoft Office PowerPoint</Application>
  <PresentationFormat>On-screen Show (4:3)</PresentationFormat>
  <Paragraphs>266</Paragraphs>
  <Slides>2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42" baseType="lpstr">
      <vt:lpstr>Arial Unicode MS</vt:lpstr>
      <vt:lpstr>Arial</vt:lpstr>
      <vt:lpstr>Calibri</vt:lpstr>
      <vt:lpstr>Calibri Light</vt:lpstr>
      <vt:lpstr>Cambria</vt:lpstr>
      <vt:lpstr>Monotype Sorts</vt:lpstr>
      <vt:lpstr>Tahoma</vt:lpstr>
      <vt:lpstr>Times New Roman</vt:lpstr>
      <vt:lpstr>TradeGothic Light</vt:lpstr>
      <vt:lpstr>Wingdings</vt:lpstr>
      <vt:lpstr>1_interim workshop slides</vt:lpstr>
      <vt:lpstr>4_Blueprint_CF_XGS180</vt:lpstr>
      <vt:lpstr>blueprint 5 Steve</vt:lpstr>
      <vt:lpstr>1_GSK Presentation</vt:lpstr>
      <vt:lpstr>Office Theme</vt:lpstr>
      <vt:lpstr>think-cell Slide</vt:lpstr>
      <vt:lpstr>Acrobat Document</vt:lpstr>
      <vt:lpstr>Challenges in Consumer Behaviour Change based on  Colour Coding System for Beverages as a NCD Control Mechanism in Sri Lanka</vt:lpstr>
      <vt:lpstr>Discussion Points </vt:lpstr>
      <vt:lpstr>Introduction of Country </vt:lpstr>
      <vt:lpstr>PowerPoint Presentation</vt:lpstr>
      <vt:lpstr>Background to colour coding regulation for beverages</vt:lpstr>
      <vt:lpstr>Background to colour coding regulation for beverages</vt:lpstr>
      <vt:lpstr>PowerPoint Presentation</vt:lpstr>
      <vt:lpstr>PowerPoint Presentation</vt:lpstr>
      <vt:lpstr>PowerPoint Presentation</vt:lpstr>
      <vt:lpstr>Background to colour coding regulation for beverages</vt:lpstr>
      <vt:lpstr>Background to colour coding regulation for beverages</vt:lpstr>
      <vt:lpstr>PowerPoint Presentation</vt:lpstr>
      <vt:lpstr>Objectives of the Study</vt:lpstr>
      <vt:lpstr>Method &amp; Results</vt:lpstr>
      <vt:lpstr>Method &amp; Results</vt:lpstr>
      <vt:lpstr>Method &amp; Results</vt:lpstr>
      <vt:lpstr>Method &amp; Results</vt:lpstr>
      <vt:lpstr>Method &amp; Results</vt:lpstr>
      <vt:lpstr>Method &amp; Results</vt:lpstr>
      <vt:lpstr>Method &amp; Results</vt:lpstr>
      <vt:lpstr>Findings</vt:lpstr>
      <vt:lpstr>PowerPoint Presentation</vt:lpstr>
      <vt:lpstr>Recommendations </vt:lpstr>
      <vt:lpstr>References</vt:lpstr>
      <vt:lpstr>PowerPoint Presentation</vt:lpstr>
    </vt:vector>
  </TitlesOfParts>
  <Company>GlaxoSmithKl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PD WOW AAR – Issues and Challenges</dc:title>
  <dc:creator>vvg15193</dc:creator>
  <cp:lastModifiedBy>Sujeewa Gunaratne</cp:lastModifiedBy>
  <cp:revision>1266</cp:revision>
  <cp:lastPrinted>2018-06-04T05:47:53Z</cp:lastPrinted>
  <dcterms:created xsi:type="dcterms:W3CDTF">2011-09-17T12:28:27Z</dcterms:created>
  <dcterms:modified xsi:type="dcterms:W3CDTF">2018-06-06T06:12:45Z</dcterms:modified>
</cp:coreProperties>
</file>